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02" r:id="rId1"/>
    <p:sldMasterId id="2147483703" r:id="rId2"/>
    <p:sldMasterId id="2147483704" r:id="rId3"/>
  </p:sldMasterIdLst>
  <p:notesMasterIdLst>
    <p:notesMasterId r:id="rId22"/>
  </p:notesMasterIdLst>
  <p:sldIdLst>
    <p:sldId id="256" r:id="rId4"/>
    <p:sldId id="294" r:id="rId5"/>
    <p:sldId id="259" r:id="rId6"/>
    <p:sldId id="260" r:id="rId7"/>
    <p:sldId id="295" r:id="rId8"/>
    <p:sldId id="261" r:id="rId9"/>
    <p:sldId id="296" r:id="rId10"/>
    <p:sldId id="262" r:id="rId11"/>
    <p:sldId id="297" r:id="rId12"/>
    <p:sldId id="298" r:id="rId13"/>
    <p:sldId id="300" r:id="rId14"/>
    <p:sldId id="265" r:id="rId15"/>
    <p:sldId id="301" r:id="rId16"/>
    <p:sldId id="302" r:id="rId17"/>
    <p:sldId id="303" r:id="rId18"/>
    <p:sldId id="304" r:id="rId19"/>
    <p:sldId id="305" r:id="rId20"/>
    <p:sldId id="291" r:id="rId21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9153055-3691-410B-A8C8-EEA040DAD3F3}">
  <a:tblStyle styleId="{A9153055-3691-410B-A8C8-EEA040DAD3F3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BDA7945-EEAE-4DDE-9F11-B1AE1CE21285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70"/>
    <p:restoredTop sz="94649"/>
  </p:normalViewPr>
  <p:slideViewPr>
    <p:cSldViewPr snapToGrid="0">
      <p:cViewPr varScale="1">
        <p:scale>
          <a:sx n="69" d="100"/>
          <a:sy n="69" d="100"/>
        </p:scale>
        <p:origin x="9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B9020C-707E-4481-9DB7-484FFDE953C3}" type="doc">
      <dgm:prSet loTypeId="urn:microsoft.com/office/officeart/2008/layout/VerticalCurvedList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BA4D70E1-D558-486C-8A0B-2F391E0A3867}">
      <dgm:prSet phldrT="[Texto]"/>
      <dgm:spPr/>
      <dgm:t>
        <a:bodyPr/>
        <a:lstStyle/>
        <a:p>
          <a:r>
            <a:rPr lang="es-ES" dirty="0" smtClean="0"/>
            <a:t>Argumento del modelo</a:t>
          </a:r>
          <a:endParaRPr lang="es-ES" dirty="0"/>
        </a:p>
      </dgm:t>
    </dgm:pt>
    <dgm:pt modelId="{B574D578-D246-4EA2-BBD8-0B1499DE9861}" type="parTrans" cxnId="{1C973F04-7B25-4EB5-BA7E-D71367711EFB}">
      <dgm:prSet/>
      <dgm:spPr/>
      <dgm:t>
        <a:bodyPr/>
        <a:lstStyle/>
        <a:p>
          <a:endParaRPr lang="es-ES"/>
        </a:p>
      </dgm:t>
    </dgm:pt>
    <dgm:pt modelId="{23D3E658-6CCC-4B25-9F2D-CB8665FE94B8}" type="sibTrans" cxnId="{1C973F04-7B25-4EB5-BA7E-D71367711EFB}">
      <dgm:prSet/>
      <dgm:spPr/>
      <dgm:t>
        <a:bodyPr/>
        <a:lstStyle/>
        <a:p>
          <a:endParaRPr lang="es-ES"/>
        </a:p>
      </dgm:t>
    </dgm:pt>
    <dgm:pt modelId="{EC4DF294-8BF4-4BD8-9794-88D1ED23D471}">
      <dgm:prSet phldrT="[Texto]"/>
      <dgm:spPr/>
      <dgm:t>
        <a:bodyPr/>
        <a:lstStyle/>
        <a:p>
          <a:r>
            <a:rPr lang="es-ES" dirty="0" smtClean="0"/>
            <a:t>Visualización (Python)</a:t>
          </a:r>
          <a:endParaRPr lang="es-ES" dirty="0"/>
        </a:p>
      </dgm:t>
    </dgm:pt>
    <dgm:pt modelId="{0B447376-FC95-4D64-BAB1-4D943AE66F1E}" type="parTrans" cxnId="{11CC854F-82AD-4804-A55D-E52D233FDC18}">
      <dgm:prSet/>
      <dgm:spPr/>
      <dgm:t>
        <a:bodyPr/>
        <a:lstStyle/>
        <a:p>
          <a:endParaRPr lang="es-ES"/>
        </a:p>
      </dgm:t>
    </dgm:pt>
    <dgm:pt modelId="{276C7004-BC40-45DD-876D-B42DE1593F5C}" type="sibTrans" cxnId="{11CC854F-82AD-4804-A55D-E52D233FDC18}">
      <dgm:prSet/>
      <dgm:spPr/>
      <dgm:t>
        <a:bodyPr/>
        <a:lstStyle/>
        <a:p>
          <a:endParaRPr lang="es-ES"/>
        </a:p>
      </dgm:t>
    </dgm:pt>
    <dgm:pt modelId="{7BA29B36-F55A-481F-A8FF-B0134B6C024F}">
      <dgm:prSet phldrT="[Texto]"/>
      <dgm:spPr/>
      <dgm:t>
        <a:bodyPr/>
        <a:lstStyle/>
        <a:p>
          <a:r>
            <a:rPr lang="es-ES" dirty="0" smtClean="0"/>
            <a:t>Técnicas y modelos (Python)</a:t>
          </a:r>
          <a:endParaRPr lang="es-ES" dirty="0"/>
        </a:p>
      </dgm:t>
    </dgm:pt>
    <dgm:pt modelId="{C3CAFFA9-6B36-4681-8E85-DF4635ACE587}" type="parTrans" cxnId="{5AE94122-79E9-4F9E-A396-89273733CC49}">
      <dgm:prSet/>
      <dgm:spPr/>
      <dgm:t>
        <a:bodyPr/>
        <a:lstStyle/>
        <a:p>
          <a:endParaRPr lang="es-ES"/>
        </a:p>
      </dgm:t>
    </dgm:pt>
    <dgm:pt modelId="{ADC142F8-39E7-448A-9B3C-D967FCFFD3C0}" type="sibTrans" cxnId="{5AE94122-79E9-4F9E-A396-89273733CC49}">
      <dgm:prSet/>
      <dgm:spPr/>
      <dgm:t>
        <a:bodyPr/>
        <a:lstStyle/>
        <a:p>
          <a:endParaRPr lang="es-ES"/>
        </a:p>
      </dgm:t>
    </dgm:pt>
    <dgm:pt modelId="{A990526B-98D4-4377-89DB-17D552C276F3}">
      <dgm:prSet phldrT="[Texto]"/>
      <dgm:spPr/>
      <dgm:t>
        <a:bodyPr/>
        <a:lstStyle/>
        <a:p>
          <a:r>
            <a:rPr lang="es-ES" b="1" dirty="0" err="1" smtClean="0"/>
            <a:t>Feedback</a:t>
          </a:r>
          <a:endParaRPr lang="es-ES" b="1" dirty="0"/>
        </a:p>
      </dgm:t>
    </dgm:pt>
    <dgm:pt modelId="{ACF8325C-5923-4EF7-9E87-E4F204F39642}" type="parTrans" cxnId="{BE4E9059-825D-4DF2-B894-DF811627CD3F}">
      <dgm:prSet/>
      <dgm:spPr/>
      <dgm:t>
        <a:bodyPr/>
        <a:lstStyle/>
        <a:p>
          <a:endParaRPr lang="es-ES"/>
        </a:p>
      </dgm:t>
    </dgm:pt>
    <dgm:pt modelId="{9DF6E966-7764-487C-97ED-DA6346D017D8}" type="sibTrans" cxnId="{BE4E9059-825D-4DF2-B894-DF811627CD3F}">
      <dgm:prSet/>
      <dgm:spPr/>
      <dgm:t>
        <a:bodyPr/>
        <a:lstStyle/>
        <a:p>
          <a:endParaRPr lang="es-ES"/>
        </a:p>
      </dgm:t>
    </dgm:pt>
    <dgm:pt modelId="{48BAADEC-80FF-4C75-B1F8-A0F38B342146}">
      <dgm:prSet phldrT="[Texto]"/>
      <dgm:spPr/>
      <dgm:t>
        <a:bodyPr/>
        <a:lstStyle/>
        <a:p>
          <a:r>
            <a:rPr lang="es-ES" dirty="0" smtClean="0"/>
            <a:t>Variables</a:t>
          </a:r>
          <a:endParaRPr lang="es-ES" dirty="0"/>
        </a:p>
      </dgm:t>
    </dgm:pt>
    <dgm:pt modelId="{487D94B9-35F4-47F9-BD21-ADCF1F13DA48}" type="parTrans" cxnId="{9A1054C6-84F4-4A49-999A-8F1699865DA5}">
      <dgm:prSet/>
      <dgm:spPr/>
      <dgm:t>
        <a:bodyPr/>
        <a:lstStyle/>
        <a:p>
          <a:endParaRPr lang="es-ES"/>
        </a:p>
      </dgm:t>
    </dgm:pt>
    <dgm:pt modelId="{EB5F73E4-AF01-47F5-BB27-5A0DEBAEDA98}" type="sibTrans" cxnId="{9A1054C6-84F4-4A49-999A-8F1699865DA5}">
      <dgm:prSet/>
      <dgm:spPr/>
      <dgm:t>
        <a:bodyPr/>
        <a:lstStyle/>
        <a:p>
          <a:endParaRPr lang="es-ES"/>
        </a:p>
      </dgm:t>
    </dgm:pt>
    <dgm:pt modelId="{142B7C80-31CB-4DF0-BAAB-D13A20A35383}">
      <dgm:prSet phldrT="[Texto]"/>
      <dgm:spPr/>
      <dgm:t>
        <a:bodyPr/>
        <a:lstStyle/>
        <a:p>
          <a:r>
            <a:rPr lang="es-ES" dirty="0" smtClean="0"/>
            <a:t>Creación del </a:t>
          </a:r>
          <a:r>
            <a:rPr lang="es-ES" dirty="0" err="1" smtClean="0"/>
            <a:t>dataset</a:t>
          </a:r>
          <a:endParaRPr lang="es-ES" dirty="0"/>
        </a:p>
      </dgm:t>
    </dgm:pt>
    <dgm:pt modelId="{845EE374-C66F-4D68-97C9-6CB43005D657}" type="sibTrans" cxnId="{811E7D40-6FA2-4066-9A57-1A9E2576120A}">
      <dgm:prSet/>
      <dgm:spPr/>
      <dgm:t>
        <a:bodyPr/>
        <a:lstStyle/>
        <a:p>
          <a:endParaRPr lang="es-ES"/>
        </a:p>
      </dgm:t>
    </dgm:pt>
    <dgm:pt modelId="{1E7B45C3-4165-4620-9D4F-41867A05AB78}" type="parTrans" cxnId="{811E7D40-6FA2-4066-9A57-1A9E2576120A}">
      <dgm:prSet/>
      <dgm:spPr/>
      <dgm:t>
        <a:bodyPr/>
        <a:lstStyle/>
        <a:p>
          <a:endParaRPr lang="es-ES"/>
        </a:p>
      </dgm:t>
    </dgm:pt>
    <dgm:pt modelId="{A00E18D9-A37F-4CEA-B4E4-126079F125A4}" type="pres">
      <dgm:prSet presAssocID="{79B9020C-707E-4481-9DB7-484FFDE953C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_tradnl"/>
        </a:p>
      </dgm:t>
    </dgm:pt>
    <dgm:pt modelId="{937CB129-C5BF-40DD-ACA3-DF58DDCB4F32}" type="pres">
      <dgm:prSet presAssocID="{79B9020C-707E-4481-9DB7-484FFDE953C3}" presName="Name1" presStyleCnt="0"/>
      <dgm:spPr/>
    </dgm:pt>
    <dgm:pt modelId="{0746A7E4-C2CD-4099-B076-748B6DF1A993}" type="pres">
      <dgm:prSet presAssocID="{79B9020C-707E-4481-9DB7-484FFDE953C3}" presName="cycle" presStyleCnt="0"/>
      <dgm:spPr/>
    </dgm:pt>
    <dgm:pt modelId="{2132C053-923B-4E81-93EF-3F8256D32058}" type="pres">
      <dgm:prSet presAssocID="{79B9020C-707E-4481-9DB7-484FFDE953C3}" presName="srcNode" presStyleLbl="node1" presStyleIdx="0" presStyleCnt="6"/>
      <dgm:spPr/>
    </dgm:pt>
    <dgm:pt modelId="{BCFE74E8-21AE-4AB7-8FA2-C5B410F7A390}" type="pres">
      <dgm:prSet presAssocID="{79B9020C-707E-4481-9DB7-484FFDE953C3}" presName="conn" presStyleLbl="parChTrans1D2" presStyleIdx="0" presStyleCnt="1"/>
      <dgm:spPr/>
      <dgm:t>
        <a:bodyPr/>
        <a:lstStyle/>
        <a:p>
          <a:endParaRPr lang="es-ES_tradnl"/>
        </a:p>
      </dgm:t>
    </dgm:pt>
    <dgm:pt modelId="{50571AC4-6897-4636-A3A7-F8C988EE1DE6}" type="pres">
      <dgm:prSet presAssocID="{79B9020C-707E-4481-9DB7-484FFDE953C3}" presName="extraNode" presStyleLbl="node1" presStyleIdx="0" presStyleCnt="6"/>
      <dgm:spPr/>
    </dgm:pt>
    <dgm:pt modelId="{11EB99E8-BB62-4D5C-96C9-FB60DCDB6878}" type="pres">
      <dgm:prSet presAssocID="{79B9020C-707E-4481-9DB7-484FFDE953C3}" presName="dstNode" presStyleLbl="node1" presStyleIdx="0" presStyleCnt="6"/>
      <dgm:spPr/>
    </dgm:pt>
    <dgm:pt modelId="{257DD5C6-23EA-470A-AABA-E3243A0DB5F5}" type="pres">
      <dgm:prSet presAssocID="{BA4D70E1-D558-486C-8A0B-2F391E0A3867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8EFE830-1495-4856-806A-DA693E411162}" type="pres">
      <dgm:prSet presAssocID="{BA4D70E1-D558-486C-8A0B-2F391E0A3867}" presName="accent_1" presStyleCnt="0"/>
      <dgm:spPr/>
    </dgm:pt>
    <dgm:pt modelId="{BAA6F663-5670-4EC2-9E75-70174B41C6DF}" type="pres">
      <dgm:prSet presAssocID="{BA4D70E1-D558-486C-8A0B-2F391E0A3867}" presName="accentRepeatNode" presStyleLbl="solidFgAcc1" presStyleIdx="0" presStyleCnt="6"/>
      <dgm:spPr/>
    </dgm:pt>
    <dgm:pt modelId="{42F2C8E5-4F62-4C7D-906C-7997B5237F0D}" type="pres">
      <dgm:prSet presAssocID="{48BAADEC-80FF-4C75-B1F8-A0F38B34214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CD24B6FD-E3FB-4500-BD33-2915AAB17B81}" type="pres">
      <dgm:prSet presAssocID="{48BAADEC-80FF-4C75-B1F8-A0F38B342146}" presName="accent_2" presStyleCnt="0"/>
      <dgm:spPr/>
    </dgm:pt>
    <dgm:pt modelId="{6B207EF8-0C08-4491-9B5A-79A4344E36A9}" type="pres">
      <dgm:prSet presAssocID="{48BAADEC-80FF-4C75-B1F8-A0F38B342146}" presName="accentRepeatNode" presStyleLbl="solidFgAcc1" presStyleIdx="1" presStyleCnt="6"/>
      <dgm:spPr/>
    </dgm:pt>
    <dgm:pt modelId="{F08EE410-532C-48C5-AE3A-80D63F081D21}" type="pres">
      <dgm:prSet presAssocID="{142B7C80-31CB-4DF0-BAAB-D13A20A35383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5CB755A1-49DC-4F17-911B-37786989E482}" type="pres">
      <dgm:prSet presAssocID="{142B7C80-31CB-4DF0-BAAB-D13A20A35383}" presName="accent_3" presStyleCnt="0"/>
      <dgm:spPr/>
    </dgm:pt>
    <dgm:pt modelId="{ECABFF3F-977B-4DC2-A612-A7B80B0CCDF4}" type="pres">
      <dgm:prSet presAssocID="{142B7C80-31CB-4DF0-BAAB-D13A20A35383}" presName="accentRepeatNode" presStyleLbl="solidFgAcc1" presStyleIdx="2" presStyleCnt="6"/>
      <dgm:spPr/>
    </dgm:pt>
    <dgm:pt modelId="{53BA778A-2C01-4ADF-8D15-D1E78E87D050}" type="pres">
      <dgm:prSet presAssocID="{EC4DF294-8BF4-4BD8-9794-88D1ED23D471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9FCBB9CD-96A6-445D-BC04-FBEC09BC2B10}" type="pres">
      <dgm:prSet presAssocID="{EC4DF294-8BF4-4BD8-9794-88D1ED23D471}" presName="accent_4" presStyleCnt="0"/>
      <dgm:spPr/>
    </dgm:pt>
    <dgm:pt modelId="{F3E90EFD-61BB-422C-8B8E-E323D243F91D}" type="pres">
      <dgm:prSet presAssocID="{EC4DF294-8BF4-4BD8-9794-88D1ED23D471}" presName="accentRepeatNode" presStyleLbl="solidFgAcc1" presStyleIdx="3" presStyleCnt="6"/>
      <dgm:spPr/>
    </dgm:pt>
    <dgm:pt modelId="{31A19DC8-8347-473F-BD27-A368A9E4B20E}" type="pres">
      <dgm:prSet presAssocID="{7BA29B36-F55A-481F-A8FF-B0134B6C024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B20322E5-B895-4E42-89D9-5C6996B302C1}" type="pres">
      <dgm:prSet presAssocID="{7BA29B36-F55A-481F-A8FF-B0134B6C024F}" presName="accent_5" presStyleCnt="0"/>
      <dgm:spPr/>
    </dgm:pt>
    <dgm:pt modelId="{7E7245B6-F3DE-4F7C-AD30-5CE51A6C539F}" type="pres">
      <dgm:prSet presAssocID="{7BA29B36-F55A-481F-A8FF-B0134B6C024F}" presName="accentRepeatNode" presStyleLbl="solidFgAcc1" presStyleIdx="4" presStyleCnt="6"/>
      <dgm:spPr/>
    </dgm:pt>
    <dgm:pt modelId="{DCEBC2A5-7C58-4F32-AAFF-965D126FC726}" type="pres">
      <dgm:prSet presAssocID="{A990526B-98D4-4377-89DB-17D552C276F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FB5BE84E-12A4-4CAA-AADA-A1BF72088C95}" type="pres">
      <dgm:prSet presAssocID="{A990526B-98D4-4377-89DB-17D552C276F3}" presName="accent_6" presStyleCnt="0"/>
      <dgm:spPr/>
    </dgm:pt>
    <dgm:pt modelId="{60031702-407A-4E4F-9CC6-26458C7CE7A2}" type="pres">
      <dgm:prSet presAssocID="{A990526B-98D4-4377-89DB-17D552C276F3}" presName="accentRepeatNode" presStyleLbl="solidFgAcc1" presStyleIdx="5" presStyleCnt="6"/>
      <dgm:spPr/>
    </dgm:pt>
  </dgm:ptLst>
  <dgm:cxnLst>
    <dgm:cxn modelId="{1C973F04-7B25-4EB5-BA7E-D71367711EFB}" srcId="{79B9020C-707E-4481-9DB7-484FFDE953C3}" destId="{BA4D70E1-D558-486C-8A0B-2F391E0A3867}" srcOrd="0" destOrd="0" parTransId="{B574D578-D246-4EA2-BBD8-0B1499DE9861}" sibTransId="{23D3E658-6CCC-4B25-9F2D-CB8665FE94B8}"/>
    <dgm:cxn modelId="{DDBF71CA-410A-44D3-9C9B-77EBE72B1BD6}" type="presOf" srcId="{79B9020C-707E-4481-9DB7-484FFDE953C3}" destId="{A00E18D9-A37F-4CEA-B4E4-126079F125A4}" srcOrd="0" destOrd="0" presId="urn:microsoft.com/office/officeart/2008/layout/VerticalCurvedList"/>
    <dgm:cxn modelId="{9D0A71CD-6349-4BBA-94F1-6996CF169A3F}" type="presOf" srcId="{7BA29B36-F55A-481F-A8FF-B0134B6C024F}" destId="{31A19DC8-8347-473F-BD27-A368A9E4B20E}" srcOrd="0" destOrd="0" presId="urn:microsoft.com/office/officeart/2008/layout/VerticalCurvedList"/>
    <dgm:cxn modelId="{4FF1FB89-2769-45B7-89DB-9A69FDEE562D}" type="presOf" srcId="{BA4D70E1-D558-486C-8A0B-2F391E0A3867}" destId="{257DD5C6-23EA-470A-AABA-E3243A0DB5F5}" srcOrd="0" destOrd="0" presId="urn:microsoft.com/office/officeart/2008/layout/VerticalCurvedList"/>
    <dgm:cxn modelId="{BE4E9059-825D-4DF2-B894-DF811627CD3F}" srcId="{79B9020C-707E-4481-9DB7-484FFDE953C3}" destId="{A990526B-98D4-4377-89DB-17D552C276F3}" srcOrd="5" destOrd="0" parTransId="{ACF8325C-5923-4EF7-9E87-E4F204F39642}" sibTransId="{9DF6E966-7764-487C-97ED-DA6346D017D8}"/>
    <dgm:cxn modelId="{42BD1CB8-181D-448F-AC6A-25306FFC4991}" type="presOf" srcId="{23D3E658-6CCC-4B25-9F2D-CB8665FE94B8}" destId="{BCFE74E8-21AE-4AB7-8FA2-C5B410F7A390}" srcOrd="0" destOrd="0" presId="urn:microsoft.com/office/officeart/2008/layout/VerticalCurvedList"/>
    <dgm:cxn modelId="{11CC854F-82AD-4804-A55D-E52D233FDC18}" srcId="{79B9020C-707E-4481-9DB7-484FFDE953C3}" destId="{EC4DF294-8BF4-4BD8-9794-88D1ED23D471}" srcOrd="3" destOrd="0" parTransId="{0B447376-FC95-4D64-BAB1-4D943AE66F1E}" sibTransId="{276C7004-BC40-45DD-876D-B42DE1593F5C}"/>
    <dgm:cxn modelId="{811E7D40-6FA2-4066-9A57-1A9E2576120A}" srcId="{79B9020C-707E-4481-9DB7-484FFDE953C3}" destId="{142B7C80-31CB-4DF0-BAAB-D13A20A35383}" srcOrd="2" destOrd="0" parTransId="{1E7B45C3-4165-4620-9D4F-41867A05AB78}" sibTransId="{845EE374-C66F-4D68-97C9-6CB43005D657}"/>
    <dgm:cxn modelId="{9A1054C6-84F4-4A49-999A-8F1699865DA5}" srcId="{79B9020C-707E-4481-9DB7-484FFDE953C3}" destId="{48BAADEC-80FF-4C75-B1F8-A0F38B342146}" srcOrd="1" destOrd="0" parTransId="{487D94B9-35F4-47F9-BD21-ADCF1F13DA48}" sibTransId="{EB5F73E4-AF01-47F5-BB27-5A0DEBAEDA98}"/>
    <dgm:cxn modelId="{A4E57767-D58A-448E-B77A-50C848B39CE5}" type="presOf" srcId="{142B7C80-31CB-4DF0-BAAB-D13A20A35383}" destId="{F08EE410-532C-48C5-AE3A-80D63F081D21}" srcOrd="0" destOrd="0" presId="urn:microsoft.com/office/officeart/2008/layout/VerticalCurvedList"/>
    <dgm:cxn modelId="{E6BEFCED-3541-4C40-A6D4-BBF68D7A7E4F}" type="presOf" srcId="{A990526B-98D4-4377-89DB-17D552C276F3}" destId="{DCEBC2A5-7C58-4F32-AAFF-965D126FC726}" srcOrd="0" destOrd="0" presId="urn:microsoft.com/office/officeart/2008/layout/VerticalCurvedList"/>
    <dgm:cxn modelId="{5AE94122-79E9-4F9E-A396-89273733CC49}" srcId="{79B9020C-707E-4481-9DB7-484FFDE953C3}" destId="{7BA29B36-F55A-481F-A8FF-B0134B6C024F}" srcOrd="4" destOrd="0" parTransId="{C3CAFFA9-6B36-4681-8E85-DF4635ACE587}" sibTransId="{ADC142F8-39E7-448A-9B3C-D967FCFFD3C0}"/>
    <dgm:cxn modelId="{AB1DDBAE-EF4C-48C1-8EFE-7EB42F5D63C3}" type="presOf" srcId="{48BAADEC-80FF-4C75-B1F8-A0F38B342146}" destId="{42F2C8E5-4F62-4C7D-906C-7997B5237F0D}" srcOrd="0" destOrd="0" presId="urn:microsoft.com/office/officeart/2008/layout/VerticalCurvedList"/>
    <dgm:cxn modelId="{FB5DBDF1-DF50-48B7-851A-8D1BDC7F7477}" type="presOf" srcId="{EC4DF294-8BF4-4BD8-9794-88D1ED23D471}" destId="{53BA778A-2C01-4ADF-8D15-D1E78E87D050}" srcOrd="0" destOrd="0" presId="urn:microsoft.com/office/officeart/2008/layout/VerticalCurvedList"/>
    <dgm:cxn modelId="{03E3F3CE-53A3-409D-9F7C-C3BF4070F721}" type="presParOf" srcId="{A00E18D9-A37F-4CEA-B4E4-126079F125A4}" destId="{937CB129-C5BF-40DD-ACA3-DF58DDCB4F32}" srcOrd="0" destOrd="0" presId="urn:microsoft.com/office/officeart/2008/layout/VerticalCurvedList"/>
    <dgm:cxn modelId="{920ED09A-F88D-48BD-BBD0-9D690AE99731}" type="presParOf" srcId="{937CB129-C5BF-40DD-ACA3-DF58DDCB4F32}" destId="{0746A7E4-C2CD-4099-B076-748B6DF1A993}" srcOrd="0" destOrd="0" presId="urn:microsoft.com/office/officeart/2008/layout/VerticalCurvedList"/>
    <dgm:cxn modelId="{189F0F6D-4B8B-4A13-82D7-C6EA349396BA}" type="presParOf" srcId="{0746A7E4-C2CD-4099-B076-748B6DF1A993}" destId="{2132C053-923B-4E81-93EF-3F8256D32058}" srcOrd="0" destOrd="0" presId="urn:microsoft.com/office/officeart/2008/layout/VerticalCurvedList"/>
    <dgm:cxn modelId="{97ED3245-2C71-4BA2-AFC3-61BC19A5A30F}" type="presParOf" srcId="{0746A7E4-C2CD-4099-B076-748B6DF1A993}" destId="{BCFE74E8-21AE-4AB7-8FA2-C5B410F7A390}" srcOrd="1" destOrd="0" presId="urn:microsoft.com/office/officeart/2008/layout/VerticalCurvedList"/>
    <dgm:cxn modelId="{5CE44188-FFB3-4347-8DD5-299386E1C8AF}" type="presParOf" srcId="{0746A7E4-C2CD-4099-B076-748B6DF1A993}" destId="{50571AC4-6897-4636-A3A7-F8C988EE1DE6}" srcOrd="2" destOrd="0" presId="urn:microsoft.com/office/officeart/2008/layout/VerticalCurvedList"/>
    <dgm:cxn modelId="{C849CD4D-91A1-4F3C-AE05-D5584654BD3E}" type="presParOf" srcId="{0746A7E4-C2CD-4099-B076-748B6DF1A993}" destId="{11EB99E8-BB62-4D5C-96C9-FB60DCDB6878}" srcOrd="3" destOrd="0" presId="urn:microsoft.com/office/officeart/2008/layout/VerticalCurvedList"/>
    <dgm:cxn modelId="{83C86734-3481-45E4-A0F6-ECBCB41EB1D3}" type="presParOf" srcId="{937CB129-C5BF-40DD-ACA3-DF58DDCB4F32}" destId="{257DD5C6-23EA-470A-AABA-E3243A0DB5F5}" srcOrd="1" destOrd="0" presId="urn:microsoft.com/office/officeart/2008/layout/VerticalCurvedList"/>
    <dgm:cxn modelId="{A85271B6-3FFD-45FA-89AC-82494B128B9A}" type="presParOf" srcId="{937CB129-C5BF-40DD-ACA3-DF58DDCB4F32}" destId="{78EFE830-1495-4856-806A-DA693E411162}" srcOrd="2" destOrd="0" presId="urn:microsoft.com/office/officeart/2008/layout/VerticalCurvedList"/>
    <dgm:cxn modelId="{B41EBD18-DCF0-4CC3-9DE9-6A1E8EF0183C}" type="presParOf" srcId="{78EFE830-1495-4856-806A-DA693E411162}" destId="{BAA6F663-5670-4EC2-9E75-70174B41C6DF}" srcOrd="0" destOrd="0" presId="urn:microsoft.com/office/officeart/2008/layout/VerticalCurvedList"/>
    <dgm:cxn modelId="{41E045D4-44B4-4709-A0B5-7362625F3699}" type="presParOf" srcId="{937CB129-C5BF-40DD-ACA3-DF58DDCB4F32}" destId="{42F2C8E5-4F62-4C7D-906C-7997B5237F0D}" srcOrd="3" destOrd="0" presId="urn:microsoft.com/office/officeart/2008/layout/VerticalCurvedList"/>
    <dgm:cxn modelId="{0134C51F-7F18-4ED3-87A6-C533DD112C33}" type="presParOf" srcId="{937CB129-C5BF-40DD-ACA3-DF58DDCB4F32}" destId="{CD24B6FD-E3FB-4500-BD33-2915AAB17B81}" srcOrd="4" destOrd="0" presId="urn:microsoft.com/office/officeart/2008/layout/VerticalCurvedList"/>
    <dgm:cxn modelId="{9FAC0036-D8B6-4706-A346-DDB3698930DE}" type="presParOf" srcId="{CD24B6FD-E3FB-4500-BD33-2915AAB17B81}" destId="{6B207EF8-0C08-4491-9B5A-79A4344E36A9}" srcOrd="0" destOrd="0" presId="urn:microsoft.com/office/officeart/2008/layout/VerticalCurvedList"/>
    <dgm:cxn modelId="{F8541049-350D-474E-9C40-70F1FE4A8789}" type="presParOf" srcId="{937CB129-C5BF-40DD-ACA3-DF58DDCB4F32}" destId="{F08EE410-532C-48C5-AE3A-80D63F081D21}" srcOrd="5" destOrd="0" presId="urn:microsoft.com/office/officeart/2008/layout/VerticalCurvedList"/>
    <dgm:cxn modelId="{1F77C2AB-FA99-480D-9458-02D5C6E02BE4}" type="presParOf" srcId="{937CB129-C5BF-40DD-ACA3-DF58DDCB4F32}" destId="{5CB755A1-49DC-4F17-911B-37786989E482}" srcOrd="6" destOrd="0" presId="urn:microsoft.com/office/officeart/2008/layout/VerticalCurvedList"/>
    <dgm:cxn modelId="{E6BC3CA5-8DB5-485F-A2AE-AC7ECFC69E82}" type="presParOf" srcId="{5CB755A1-49DC-4F17-911B-37786989E482}" destId="{ECABFF3F-977B-4DC2-A612-A7B80B0CCDF4}" srcOrd="0" destOrd="0" presId="urn:microsoft.com/office/officeart/2008/layout/VerticalCurvedList"/>
    <dgm:cxn modelId="{10C3CC68-905F-49C7-BEF9-F794D980D9DC}" type="presParOf" srcId="{937CB129-C5BF-40DD-ACA3-DF58DDCB4F32}" destId="{53BA778A-2C01-4ADF-8D15-D1E78E87D050}" srcOrd="7" destOrd="0" presId="urn:microsoft.com/office/officeart/2008/layout/VerticalCurvedList"/>
    <dgm:cxn modelId="{3EB40E6F-99C4-466B-A425-6E79D04CD433}" type="presParOf" srcId="{937CB129-C5BF-40DD-ACA3-DF58DDCB4F32}" destId="{9FCBB9CD-96A6-445D-BC04-FBEC09BC2B10}" srcOrd="8" destOrd="0" presId="urn:microsoft.com/office/officeart/2008/layout/VerticalCurvedList"/>
    <dgm:cxn modelId="{EF09DC33-7E7D-49C4-9A7F-30FFE2CC9002}" type="presParOf" srcId="{9FCBB9CD-96A6-445D-BC04-FBEC09BC2B10}" destId="{F3E90EFD-61BB-422C-8B8E-E323D243F91D}" srcOrd="0" destOrd="0" presId="urn:microsoft.com/office/officeart/2008/layout/VerticalCurvedList"/>
    <dgm:cxn modelId="{C0FCBAC7-D38D-4504-AA93-21FFD5246432}" type="presParOf" srcId="{937CB129-C5BF-40DD-ACA3-DF58DDCB4F32}" destId="{31A19DC8-8347-473F-BD27-A368A9E4B20E}" srcOrd="9" destOrd="0" presId="urn:microsoft.com/office/officeart/2008/layout/VerticalCurvedList"/>
    <dgm:cxn modelId="{931EF108-7483-44D1-B490-2DB11BCD3EA2}" type="presParOf" srcId="{937CB129-C5BF-40DD-ACA3-DF58DDCB4F32}" destId="{B20322E5-B895-4E42-89D9-5C6996B302C1}" srcOrd="10" destOrd="0" presId="urn:microsoft.com/office/officeart/2008/layout/VerticalCurvedList"/>
    <dgm:cxn modelId="{774047EE-0773-4D19-9F62-D650327B8DFD}" type="presParOf" srcId="{B20322E5-B895-4E42-89D9-5C6996B302C1}" destId="{7E7245B6-F3DE-4F7C-AD30-5CE51A6C539F}" srcOrd="0" destOrd="0" presId="urn:microsoft.com/office/officeart/2008/layout/VerticalCurvedList"/>
    <dgm:cxn modelId="{F4725B4F-6C72-4E97-ACAA-0C3F4BC62A98}" type="presParOf" srcId="{937CB129-C5BF-40DD-ACA3-DF58DDCB4F32}" destId="{DCEBC2A5-7C58-4F32-AAFF-965D126FC726}" srcOrd="11" destOrd="0" presId="urn:microsoft.com/office/officeart/2008/layout/VerticalCurvedList"/>
    <dgm:cxn modelId="{394FB0C2-AE49-4AA2-B888-C17DA7AAFE1E}" type="presParOf" srcId="{937CB129-C5BF-40DD-ACA3-DF58DDCB4F32}" destId="{FB5BE84E-12A4-4CAA-AADA-A1BF72088C95}" srcOrd="12" destOrd="0" presId="urn:microsoft.com/office/officeart/2008/layout/VerticalCurvedList"/>
    <dgm:cxn modelId="{3BCCE366-28F9-4937-96DD-217FBBAF789F}" type="presParOf" srcId="{FB5BE84E-12A4-4CAA-AADA-A1BF72088C95}" destId="{60031702-407A-4E4F-9CC6-26458C7CE7A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FE74E8-21AE-4AB7-8FA2-C5B410F7A390}">
      <dsp:nvSpPr>
        <dsp:cNvPr id="0" name=""/>
        <dsp:cNvSpPr/>
      </dsp:nvSpPr>
      <dsp:spPr>
        <a:xfrm>
          <a:off x="-5184754" y="-794167"/>
          <a:ext cx="6174190" cy="6174190"/>
        </a:xfrm>
        <a:prstGeom prst="blockArc">
          <a:avLst>
            <a:gd name="adj1" fmla="val 18900000"/>
            <a:gd name="adj2" fmla="val 2700000"/>
            <a:gd name="adj3" fmla="val 350"/>
          </a:avLst>
        </a:pr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7DD5C6-23EA-470A-AABA-E3243A0DB5F5}">
      <dsp:nvSpPr>
        <dsp:cNvPr id="0" name=""/>
        <dsp:cNvSpPr/>
      </dsp:nvSpPr>
      <dsp:spPr>
        <a:xfrm>
          <a:off x="369017" y="241491"/>
          <a:ext cx="5127844" cy="48279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/>
            <a:t>Argumento del modelo</a:t>
          </a:r>
          <a:endParaRPr lang="es-ES" sz="2600" kern="1200" dirty="0"/>
        </a:p>
      </dsp:txBody>
      <dsp:txXfrm>
        <a:off x="369017" y="241491"/>
        <a:ext cx="5127844" cy="482798"/>
      </dsp:txXfrm>
    </dsp:sp>
    <dsp:sp modelId="{BAA6F663-5670-4EC2-9E75-70174B41C6DF}">
      <dsp:nvSpPr>
        <dsp:cNvPr id="0" name=""/>
        <dsp:cNvSpPr/>
      </dsp:nvSpPr>
      <dsp:spPr>
        <a:xfrm>
          <a:off x="67268" y="181141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F2C8E5-4F62-4C7D-906C-7997B5237F0D}">
      <dsp:nvSpPr>
        <dsp:cNvPr id="0" name=""/>
        <dsp:cNvSpPr/>
      </dsp:nvSpPr>
      <dsp:spPr>
        <a:xfrm>
          <a:off x="766152" y="965597"/>
          <a:ext cx="4730709" cy="482798"/>
        </a:xfrm>
        <a:prstGeom prst="rect">
          <a:avLst/>
        </a:prstGeom>
        <a:solidFill>
          <a:schemeClr val="accent5">
            <a:hueOff val="199612"/>
            <a:satOff val="-100"/>
            <a:lumOff val="211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/>
            <a:t>Variables</a:t>
          </a:r>
          <a:endParaRPr lang="es-ES" sz="2600" kern="1200" dirty="0"/>
        </a:p>
      </dsp:txBody>
      <dsp:txXfrm>
        <a:off x="766152" y="965597"/>
        <a:ext cx="4730709" cy="482798"/>
      </dsp:txXfrm>
    </dsp:sp>
    <dsp:sp modelId="{6B207EF8-0C08-4491-9B5A-79A4344E36A9}">
      <dsp:nvSpPr>
        <dsp:cNvPr id="0" name=""/>
        <dsp:cNvSpPr/>
      </dsp:nvSpPr>
      <dsp:spPr>
        <a:xfrm>
          <a:off x="464403" y="905247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199612"/>
              <a:satOff val="-100"/>
              <a:lumOff val="211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8EE410-532C-48C5-AE3A-80D63F081D21}">
      <dsp:nvSpPr>
        <dsp:cNvPr id="0" name=""/>
        <dsp:cNvSpPr/>
      </dsp:nvSpPr>
      <dsp:spPr>
        <a:xfrm>
          <a:off x="947752" y="1689704"/>
          <a:ext cx="4549109" cy="482798"/>
        </a:xfrm>
        <a:prstGeom prst="rect">
          <a:avLst/>
        </a:prstGeom>
        <a:solidFill>
          <a:schemeClr val="accent5">
            <a:hueOff val="399223"/>
            <a:satOff val="-199"/>
            <a:lumOff val="423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/>
            <a:t>Creación del </a:t>
          </a:r>
          <a:r>
            <a:rPr lang="es-ES" sz="2600" kern="1200" dirty="0" err="1" smtClean="0"/>
            <a:t>dataset</a:t>
          </a:r>
          <a:endParaRPr lang="es-ES" sz="2600" kern="1200" dirty="0"/>
        </a:p>
      </dsp:txBody>
      <dsp:txXfrm>
        <a:off x="947752" y="1689704"/>
        <a:ext cx="4549109" cy="482798"/>
      </dsp:txXfrm>
    </dsp:sp>
    <dsp:sp modelId="{ECABFF3F-977B-4DC2-A612-A7B80B0CCDF4}">
      <dsp:nvSpPr>
        <dsp:cNvPr id="0" name=""/>
        <dsp:cNvSpPr/>
      </dsp:nvSpPr>
      <dsp:spPr>
        <a:xfrm>
          <a:off x="646003" y="1629354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399223"/>
              <a:satOff val="-199"/>
              <a:lumOff val="42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BA778A-2C01-4ADF-8D15-D1E78E87D050}">
      <dsp:nvSpPr>
        <dsp:cNvPr id="0" name=""/>
        <dsp:cNvSpPr/>
      </dsp:nvSpPr>
      <dsp:spPr>
        <a:xfrm>
          <a:off x="947752" y="2413352"/>
          <a:ext cx="4549109" cy="482798"/>
        </a:xfrm>
        <a:prstGeom prst="rect">
          <a:avLst/>
        </a:prstGeom>
        <a:solidFill>
          <a:schemeClr val="accent5">
            <a:hueOff val="598835"/>
            <a:satOff val="-299"/>
            <a:lumOff val="635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/>
            <a:t>Visualización (Python)</a:t>
          </a:r>
          <a:endParaRPr lang="es-ES" sz="2600" kern="1200" dirty="0"/>
        </a:p>
      </dsp:txBody>
      <dsp:txXfrm>
        <a:off x="947752" y="2413352"/>
        <a:ext cx="4549109" cy="482798"/>
      </dsp:txXfrm>
    </dsp:sp>
    <dsp:sp modelId="{F3E90EFD-61BB-422C-8B8E-E323D243F91D}">
      <dsp:nvSpPr>
        <dsp:cNvPr id="0" name=""/>
        <dsp:cNvSpPr/>
      </dsp:nvSpPr>
      <dsp:spPr>
        <a:xfrm>
          <a:off x="646003" y="2353002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598835"/>
              <a:satOff val="-299"/>
              <a:lumOff val="635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A19DC8-8347-473F-BD27-A368A9E4B20E}">
      <dsp:nvSpPr>
        <dsp:cNvPr id="0" name=""/>
        <dsp:cNvSpPr/>
      </dsp:nvSpPr>
      <dsp:spPr>
        <a:xfrm>
          <a:off x="766152" y="3137459"/>
          <a:ext cx="4730709" cy="482798"/>
        </a:xfrm>
        <a:prstGeom prst="rect">
          <a:avLst/>
        </a:prstGeom>
        <a:solidFill>
          <a:schemeClr val="accent5">
            <a:hueOff val="798447"/>
            <a:satOff val="-398"/>
            <a:lumOff val="847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/>
            <a:t>Técnicas y modelos (Python)</a:t>
          </a:r>
          <a:endParaRPr lang="es-ES" sz="2600" kern="1200" dirty="0"/>
        </a:p>
      </dsp:txBody>
      <dsp:txXfrm>
        <a:off x="766152" y="3137459"/>
        <a:ext cx="4730709" cy="482798"/>
      </dsp:txXfrm>
    </dsp:sp>
    <dsp:sp modelId="{7E7245B6-F3DE-4F7C-AD30-5CE51A6C539F}">
      <dsp:nvSpPr>
        <dsp:cNvPr id="0" name=""/>
        <dsp:cNvSpPr/>
      </dsp:nvSpPr>
      <dsp:spPr>
        <a:xfrm>
          <a:off x="464403" y="3077109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798447"/>
              <a:satOff val="-398"/>
              <a:lumOff val="847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EBC2A5-7C58-4F32-AAFF-965D126FC726}">
      <dsp:nvSpPr>
        <dsp:cNvPr id="0" name=""/>
        <dsp:cNvSpPr/>
      </dsp:nvSpPr>
      <dsp:spPr>
        <a:xfrm>
          <a:off x="369017" y="3861565"/>
          <a:ext cx="5127844" cy="482798"/>
        </a:xfrm>
        <a:prstGeom prst="rect">
          <a:avLst/>
        </a:prstGeom>
        <a:solidFill>
          <a:schemeClr val="accent5">
            <a:hueOff val="998058"/>
            <a:satOff val="-498"/>
            <a:lumOff val="1058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322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b="1" kern="1200" dirty="0" err="1" smtClean="0"/>
            <a:t>Feedback</a:t>
          </a:r>
          <a:endParaRPr lang="es-ES" sz="2600" b="1" kern="1200" dirty="0"/>
        </a:p>
      </dsp:txBody>
      <dsp:txXfrm>
        <a:off x="369017" y="3861565"/>
        <a:ext cx="5127844" cy="482798"/>
      </dsp:txXfrm>
    </dsp:sp>
    <dsp:sp modelId="{60031702-407A-4E4F-9CC6-26458C7CE7A2}">
      <dsp:nvSpPr>
        <dsp:cNvPr id="0" name=""/>
        <dsp:cNvSpPr/>
      </dsp:nvSpPr>
      <dsp:spPr>
        <a:xfrm>
          <a:off x="67268" y="3801216"/>
          <a:ext cx="603498" cy="6034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998058"/>
              <a:satOff val="-498"/>
              <a:lumOff val="105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s-P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" name="Shape 10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9" name="Shape 105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0" name="Shape 133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31" name="Shape 133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0" name="Shape 133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31" name="Shape 133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964784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3" name="Shape 174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44" name="Shape 174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735737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Shape 193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34" name="Shape 193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5" name="Shape 1935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Shape 11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0" name="Shape 11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" name="Shape 1141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2594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Shape 113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4" name="Shape 113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Shape 11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0" name="Shape 11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" name="Shape 1141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" name="Shape 113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0" name="Shape 11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" name="Shape 1141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5766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Shape 11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8" name="Shape 11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P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¿Qué hacen las BD resaltadas en rojo? ¿Todo On Cloud va a ser apagado al hacer uso de la arquitectura en la nube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" name="Shape 1179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5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Shape 11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8" name="Shape 11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P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¿Qué hacen las BD resaltadas en rojo? ¿Todo On Cloud va a ser apagado al hacer uso de la arquitectura en la nube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" name="Shape 1179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2403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2" name="Shape 123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3" name="Shape 123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Shape 117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8" name="Shape 11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PE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¿Qué hacen las BD resaltadas en rojo? ¿Todo On Cloud va a ser apagado al hacer uso de la arquitectura en la nube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" name="Shape 1179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s-PE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8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49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Raleway"/>
              <a:buNone/>
              <a:defRPr sz="60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bg>
      <p:bgPr>
        <a:solidFill>
          <a:schemeClr val="accent3"/>
        </a:solidFill>
        <a:effectLst/>
      </p:bgPr>
    </p:bg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1" name="Shape 211"/>
          <p:cNvGrpSpPr/>
          <p:nvPr/>
        </p:nvGrpSpPr>
        <p:grpSpPr>
          <a:xfrm rot="10800000">
            <a:off x="-1155699" y="-696273"/>
            <a:ext cx="14820899" cy="2936005"/>
            <a:chOff x="-412916" y="4500715"/>
            <a:chExt cx="13559800" cy="2936005"/>
          </a:xfrm>
        </p:grpSpPr>
        <p:sp>
          <p:nvSpPr>
            <p:cNvPr id="212" name="Shape 212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3" name="Shape 213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4" name="Shape 214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Shape 215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Shape 216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Shape 217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" name="Shape 218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" name="Shape 219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0" name="Shape 220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1" name="Shape 221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2" name="Shape 222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3" name="Shape 223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4" name="Shape 224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" name="Shape 225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Shape 226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7" name="Shape 227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8" name="Shape 228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" name="Shape 229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Shape 230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Shape 231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Shape 232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" name="Shape 233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Shape 234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" name="Shape 235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6" name="Shape 236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7" name="Shape 237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8" name="Shape 238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Shape 239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0" name="Shape 240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Shape 241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Shape 242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3" name="Shape 243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Shape 244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Shape 245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6" name="Shape 246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7" name="Shape 247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" name="Shape 248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9" name="Shape 249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0" name="Shape 250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1" name="Shape 251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252" name="Shape 252"/>
          <p:cNvSpPr>
            <a:spLocks noGrp="1"/>
          </p:cNvSpPr>
          <p:nvPr>
            <p:ph type="pic" idx="2"/>
          </p:nvPr>
        </p:nvSpPr>
        <p:spPr>
          <a:xfrm>
            <a:off x="1632869" y="4298748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53" name="Shape 253"/>
          <p:cNvSpPr>
            <a:spLocks noGrp="1"/>
          </p:cNvSpPr>
          <p:nvPr>
            <p:ph type="pic" idx="3"/>
          </p:nvPr>
        </p:nvSpPr>
        <p:spPr>
          <a:xfrm>
            <a:off x="713540" y="3589943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54" name="Shape 254"/>
          <p:cNvSpPr>
            <a:spLocks noGrp="1"/>
          </p:cNvSpPr>
          <p:nvPr>
            <p:ph type="pic" idx="4"/>
          </p:nvPr>
        </p:nvSpPr>
        <p:spPr>
          <a:xfrm>
            <a:off x="722877" y="5017239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55" name="Shape 255"/>
          <p:cNvSpPr>
            <a:spLocks noGrp="1"/>
          </p:cNvSpPr>
          <p:nvPr>
            <p:ph type="pic" idx="5"/>
          </p:nvPr>
        </p:nvSpPr>
        <p:spPr>
          <a:xfrm>
            <a:off x="3875665" y="3054737"/>
            <a:ext cx="1872000" cy="140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56" name="Shape 256"/>
          <p:cNvSpPr>
            <a:spLocks noGrp="1"/>
          </p:cNvSpPr>
          <p:nvPr>
            <p:ph type="pic" idx="6"/>
          </p:nvPr>
        </p:nvSpPr>
        <p:spPr>
          <a:xfrm>
            <a:off x="6526355" y="2579840"/>
            <a:ext cx="2352000" cy="176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57" name="Shape 257"/>
          <p:cNvSpPr>
            <a:spLocks noGrp="1"/>
          </p:cNvSpPr>
          <p:nvPr>
            <p:ph type="pic" idx="7"/>
          </p:nvPr>
        </p:nvSpPr>
        <p:spPr>
          <a:xfrm>
            <a:off x="6406309" y="4696606"/>
            <a:ext cx="1968000" cy="1476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hape 259"/>
          <p:cNvSpPr>
            <a:spLocks noGrp="1"/>
          </p:cNvSpPr>
          <p:nvPr>
            <p:ph type="pic" idx="2"/>
          </p:nvPr>
        </p:nvSpPr>
        <p:spPr>
          <a:xfrm>
            <a:off x="0" y="2433638"/>
            <a:ext cx="12192000" cy="442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0" name="Shape 260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Shape 261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>
            <a:spLocks noGrp="1"/>
          </p:cNvSpPr>
          <p:nvPr>
            <p:ph type="pic" idx="2"/>
          </p:nvPr>
        </p:nvSpPr>
        <p:spPr>
          <a:xfrm>
            <a:off x="0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4" name="Shape 264"/>
          <p:cNvSpPr>
            <a:spLocks noGrp="1"/>
          </p:cNvSpPr>
          <p:nvPr>
            <p:ph type="pic" idx="3"/>
          </p:nvPr>
        </p:nvSpPr>
        <p:spPr>
          <a:xfrm>
            <a:off x="0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5" name="Shape 265"/>
          <p:cNvSpPr>
            <a:spLocks noGrp="1"/>
          </p:cNvSpPr>
          <p:nvPr>
            <p:ph type="pic" idx="4"/>
          </p:nvPr>
        </p:nvSpPr>
        <p:spPr>
          <a:xfrm>
            <a:off x="0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6" name="Shape 266"/>
          <p:cNvSpPr>
            <a:spLocks noGrp="1"/>
          </p:cNvSpPr>
          <p:nvPr>
            <p:ph type="pic" idx="5"/>
          </p:nvPr>
        </p:nvSpPr>
        <p:spPr>
          <a:xfrm>
            <a:off x="2037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7" name="Shape 267"/>
          <p:cNvSpPr>
            <a:spLocks noGrp="1"/>
          </p:cNvSpPr>
          <p:nvPr>
            <p:ph type="pic" idx="6"/>
          </p:nvPr>
        </p:nvSpPr>
        <p:spPr>
          <a:xfrm>
            <a:off x="2037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8" name="Shape 268"/>
          <p:cNvSpPr>
            <a:spLocks noGrp="1"/>
          </p:cNvSpPr>
          <p:nvPr>
            <p:ph type="pic" idx="7"/>
          </p:nvPr>
        </p:nvSpPr>
        <p:spPr>
          <a:xfrm>
            <a:off x="2037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" name="Shape 269"/>
          <p:cNvSpPr>
            <a:spLocks noGrp="1"/>
          </p:cNvSpPr>
          <p:nvPr>
            <p:ph type="pic" idx="8"/>
          </p:nvPr>
        </p:nvSpPr>
        <p:spPr>
          <a:xfrm>
            <a:off x="4071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0" name="Shape 270"/>
          <p:cNvSpPr>
            <a:spLocks noGrp="1"/>
          </p:cNvSpPr>
          <p:nvPr>
            <p:ph type="pic" idx="9"/>
          </p:nvPr>
        </p:nvSpPr>
        <p:spPr>
          <a:xfrm>
            <a:off x="4071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1" name="Shape 271"/>
          <p:cNvSpPr>
            <a:spLocks noGrp="1"/>
          </p:cNvSpPr>
          <p:nvPr>
            <p:ph type="pic" idx="13"/>
          </p:nvPr>
        </p:nvSpPr>
        <p:spPr>
          <a:xfrm>
            <a:off x="4071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2" name="Shape 272"/>
          <p:cNvSpPr>
            <a:spLocks noGrp="1"/>
          </p:cNvSpPr>
          <p:nvPr>
            <p:ph type="pic" idx="14"/>
          </p:nvPr>
        </p:nvSpPr>
        <p:spPr>
          <a:xfrm>
            <a:off x="610863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3" name="Shape 273"/>
          <p:cNvSpPr>
            <a:spLocks noGrp="1"/>
          </p:cNvSpPr>
          <p:nvPr>
            <p:ph type="pic" idx="15"/>
          </p:nvPr>
        </p:nvSpPr>
        <p:spPr>
          <a:xfrm>
            <a:off x="6108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4" name="Shape 274"/>
          <p:cNvSpPr>
            <a:spLocks noGrp="1"/>
          </p:cNvSpPr>
          <p:nvPr>
            <p:ph type="pic" idx="16"/>
          </p:nvPr>
        </p:nvSpPr>
        <p:spPr>
          <a:xfrm>
            <a:off x="610863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5" name="Shape 275"/>
          <p:cNvSpPr>
            <a:spLocks noGrp="1"/>
          </p:cNvSpPr>
          <p:nvPr>
            <p:ph type="pic" idx="17"/>
          </p:nvPr>
        </p:nvSpPr>
        <p:spPr>
          <a:xfrm>
            <a:off x="8139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6" name="Shape 276"/>
          <p:cNvSpPr>
            <a:spLocks noGrp="1"/>
          </p:cNvSpPr>
          <p:nvPr>
            <p:ph type="pic" idx="18"/>
          </p:nvPr>
        </p:nvSpPr>
        <p:spPr>
          <a:xfrm>
            <a:off x="8139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7" name="Shape 277"/>
          <p:cNvSpPr>
            <a:spLocks noGrp="1"/>
          </p:cNvSpPr>
          <p:nvPr>
            <p:ph type="pic" idx="19"/>
          </p:nvPr>
        </p:nvSpPr>
        <p:spPr>
          <a:xfrm>
            <a:off x="8139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8" name="Shape 278"/>
          <p:cNvSpPr>
            <a:spLocks noGrp="1"/>
          </p:cNvSpPr>
          <p:nvPr>
            <p:ph type="pic" idx="20"/>
          </p:nvPr>
        </p:nvSpPr>
        <p:spPr>
          <a:xfrm>
            <a:off x="1017663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9" name="Shape 279"/>
          <p:cNvSpPr>
            <a:spLocks noGrp="1"/>
          </p:cNvSpPr>
          <p:nvPr>
            <p:ph type="pic" idx="21"/>
          </p:nvPr>
        </p:nvSpPr>
        <p:spPr>
          <a:xfrm>
            <a:off x="10176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0" name="Shape 280"/>
          <p:cNvSpPr>
            <a:spLocks noGrp="1"/>
          </p:cNvSpPr>
          <p:nvPr>
            <p:ph type="pic" idx="22"/>
          </p:nvPr>
        </p:nvSpPr>
        <p:spPr>
          <a:xfrm>
            <a:off x="1017663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ustom Layout">
  <p:cSld name="18_Custom Layout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Shape 282"/>
          <p:cNvSpPr>
            <a:spLocks noGrp="1"/>
          </p:cNvSpPr>
          <p:nvPr>
            <p:ph type="pic" idx="2"/>
          </p:nvPr>
        </p:nvSpPr>
        <p:spPr>
          <a:xfrm>
            <a:off x="0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3" name="Shape 283"/>
          <p:cNvSpPr>
            <a:spLocks noGrp="1"/>
          </p:cNvSpPr>
          <p:nvPr>
            <p:ph type="pic" idx="3"/>
          </p:nvPr>
        </p:nvSpPr>
        <p:spPr>
          <a:xfrm>
            <a:off x="0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4" name="Shape 284"/>
          <p:cNvSpPr>
            <a:spLocks noGrp="1"/>
          </p:cNvSpPr>
          <p:nvPr>
            <p:ph type="pic" idx="4"/>
          </p:nvPr>
        </p:nvSpPr>
        <p:spPr>
          <a:xfrm>
            <a:off x="2037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5" name="Shape 285"/>
          <p:cNvSpPr>
            <a:spLocks noGrp="1"/>
          </p:cNvSpPr>
          <p:nvPr>
            <p:ph type="pic" idx="5"/>
          </p:nvPr>
        </p:nvSpPr>
        <p:spPr>
          <a:xfrm>
            <a:off x="4071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6" name="Shape 286"/>
          <p:cNvSpPr>
            <a:spLocks noGrp="1"/>
          </p:cNvSpPr>
          <p:nvPr>
            <p:ph type="pic" idx="6"/>
          </p:nvPr>
        </p:nvSpPr>
        <p:spPr>
          <a:xfrm>
            <a:off x="4071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7" name="Shape 287"/>
          <p:cNvSpPr>
            <a:spLocks noGrp="1"/>
          </p:cNvSpPr>
          <p:nvPr>
            <p:ph type="pic" idx="7"/>
          </p:nvPr>
        </p:nvSpPr>
        <p:spPr>
          <a:xfrm>
            <a:off x="6108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8" name="Shape 288"/>
          <p:cNvSpPr>
            <a:spLocks noGrp="1"/>
          </p:cNvSpPr>
          <p:nvPr>
            <p:ph type="pic" idx="8"/>
          </p:nvPr>
        </p:nvSpPr>
        <p:spPr>
          <a:xfrm>
            <a:off x="8139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9" name="Shape 289"/>
          <p:cNvSpPr>
            <a:spLocks noGrp="1"/>
          </p:cNvSpPr>
          <p:nvPr>
            <p:ph type="pic" idx="9"/>
          </p:nvPr>
        </p:nvSpPr>
        <p:spPr>
          <a:xfrm>
            <a:off x="8139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0" name="Shape 290"/>
          <p:cNvSpPr>
            <a:spLocks noGrp="1"/>
          </p:cNvSpPr>
          <p:nvPr>
            <p:ph type="pic" idx="13"/>
          </p:nvPr>
        </p:nvSpPr>
        <p:spPr>
          <a:xfrm>
            <a:off x="10176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bg>
      <p:bgPr>
        <a:solidFill>
          <a:schemeClr val="accent1"/>
        </a:solidFill>
        <a:effectLst/>
      </p:bgPr>
    </p:bg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2" name="Shape 292"/>
          <p:cNvGrpSpPr/>
          <p:nvPr/>
        </p:nvGrpSpPr>
        <p:grpSpPr>
          <a:xfrm rot="10800000">
            <a:off x="-1155699" y="-696273"/>
            <a:ext cx="14820899" cy="2936005"/>
            <a:chOff x="-412916" y="4500715"/>
            <a:chExt cx="13559800" cy="2936005"/>
          </a:xfrm>
        </p:grpSpPr>
        <p:sp>
          <p:nvSpPr>
            <p:cNvPr id="293" name="Shape 293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" name="Shape 294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5" name="Shape 295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Shape 296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Shape 297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Shape 298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9" name="Shape 299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Shape 300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1" name="Shape 301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2" name="Shape 302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Shape 303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" name="Shape 304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Shape 305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Shape 306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Shape 307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8" name="Shape 308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9" name="Shape 309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0" name="Shape 310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1" name="Shape 311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2" name="Shape 312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" name="Shape 313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Shape 314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Shape 315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" name="Shape 316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" name="Shape 317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8" name="Shape 318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9" name="Shape 319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Shape 320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Shape 321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2" name="Shape 322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" name="Shape 323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Shape 324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5" name="Shape 325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6" name="Shape 326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Shape 327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Shape 328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" name="Shape 329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Shape 330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1" name="Shape 331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2" name="Shape 332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ustom Layout">
  <p:cSld name="12_Custom Layout">
    <p:bg>
      <p:bgPr>
        <a:solidFill>
          <a:schemeClr val="accent3"/>
        </a:solidFill>
        <a:effectLst/>
      </p:bgPr>
    </p:bg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Shape 334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5" name="Shape 335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grpSp>
        <p:nvGrpSpPr>
          <p:cNvPr id="336" name="Shape 336"/>
          <p:cNvGrpSpPr/>
          <p:nvPr/>
        </p:nvGrpSpPr>
        <p:grpSpPr>
          <a:xfrm>
            <a:off x="-1447799" y="4500717"/>
            <a:ext cx="15544799" cy="2700184"/>
            <a:chOff x="-412916" y="4500715"/>
            <a:chExt cx="13559800" cy="2936005"/>
          </a:xfrm>
        </p:grpSpPr>
        <p:sp>
          <p:nvSpPr>
            <p:cNvPr id="337" name="Shape 337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Shape 338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Shape 339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" name="Shape 340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Shape 341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2" name="Shape 342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3" name="Shape 343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Shape 344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Shape 345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6" name="Shape 346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" name="Shape 347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8" name="Shape 348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Shape 349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Shape 350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" name="Shape 351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Shape 352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Shape 353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Shape 354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Shape 355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Shape 356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7" name="Shape 357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Shape 358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Shape 359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0" name="Shape 360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Shape 361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Shape 362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Shape 363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Shape 364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Shape 365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Shape 366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Shape 367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Shape 368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Shape 369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Shape 370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Shape 371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Shape 372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Shape 373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Shape 374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75" name="Shape 375"/>
          <p:cNvGrpSpPr/>
          <p:nvPr/>
        </p:nvGrpSpPr>
        <p:grpSpPr>
          <a:xfrm rot="1737091">
            <a:off x="-1509136" y="217289"/>
            <a:ext cx="3018272" cy="2440750"/>
            <a:chOff x="8349573" y="-1673337"/>
            <a:chExt cx="6162676" cy="6416675"/>
          </a:xfrm>
        </p:grpSpPr>
        <p:sp>
          <p:nvSpPr>
            <p:cNvPr id="376" name="Shape 376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Shape 377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8" name="Shape 378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9" name="Shape 379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0" name="Shape 380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Shape 381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Shape 382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Shape 383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Shape 384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5" name="Shape 385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6" name="Shape 386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7" name="Shape 387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88" name="Shape 388"/>
          <p:cNvGrpSpPr/>
          <p:nvPr/>
        </p:nvGrpSpPr>
        <p:grpSpPr>
          <a:xfrm>
            <a:off x="10942710" y="1957633"/>
            <a:ext cx="2338271" cy="1910862"/>
            <a:chOff x="8349573" y="-1673337"/>
            <a:chExt cx="6162676" cy="6416675"/>
          </a:xfrm>
        </p:grpSpPr>
        <p:sp>
          <p:nvSpPr>
            <p:cNvPr id="389" name="Shape 389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0" name="Shape 390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1" name="Shape 391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" name="Shape 392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Shape 393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Shape 394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" name="Shape 395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6" name="Shape 396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7" name="Shape 397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" name="Shape 398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9" name="Shape 399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Shape 400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ustom Layout">
  <p:cSld name="13_Custom Layout">
    <p:bg>
      <p:bgPr>
        <a:solidFill>
          <a:schemeClr val="accent1"/>
        </a:solidFill>
        <a:effectLst/>
      </p:bgPr>
    </p:bg>
    <p:spTree>
      <p:nvGrpSpPr>
        <p:cNvPr id="1" name="Shape 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Shape 402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3" name="Shape 403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bg>
      <p:bgPr>
        <a:solidFill>
          <a:schemeClr val="accent5"/>
        </a:solidFill>
        <a:effectLst/>
      </p:bgPr>
    </p:bg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Shape 405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6" name="Shape 406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ustom Layout">
  <p:cSld name="17_Custom Layout">
    <p:bg>
      <p:bgPr>
        <a:solidFill>
          <a:schemeClr val="accent6"/>
        </a:solidFill>
        <a:effectLst/>
      </p:bgPr>
    </p:bg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Shape 408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9" name="Shape 409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>
  <p:cSld name="15_Custom Layout">
    <p:bg>
      <p:bgPr>
        <a:solidFill>
          <a:schemeClr val="accent4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Shape 411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2" name="Shape 412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/>
          <p:nvPr/>
        </p:nvSpPr>
        <p:spPr>
          <a:xfrm rot="10800000">
            <a:off x="11464429" y="6315958"/>
            <a:ext cx="727571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27" name="Shape 27"/>
          <p:cNvSpPr txBox="1"/>
          <p:nvPr/>
        </p:nvSpPr>
        <p:spPr>
          <a:xfrm>
            <a:off x="853296" y="6369250"/>
            <a:ext cx="14943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200"/>
              <a:buFont typeface="Arial"/>
              <a:buNone/>
            </a:pPr>
            <a:r>
              <a:rPr lang="es-PE" sz="1200" b="0" i="0" u="none" strike="noStrike" cap="none">
                <a:solidFill>
                  <a:srgbClr val="3A3838"/>
                </a:solidFill>
                <a:latin typeface="Arial"/>
                <a:ea typeface="Arial"/>
                <a:cs typeface="Arial"/>
                <a:sym typeface="Arial"/>
              </a:rPr>
              <a:t>Big Data &amp; Insights</a:t>
            </a:r>
            <a:endParaRPr sz="1200" b="0" i="0" u="none" strike="noStrike" cap="none">
              <a:solidFill>
                <a:srgbClr val="3A383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8" name="Shape 28" descr="Resultado de imagen para logo Belcorp png"/>
          <p:cNvPicPr preferRelativeResize="0"/>
          <p:nvPr/>
        </p:nvPicPr>
        <p:blipFill rotWithShape="1">
          <a:blip r:embed="rId2">
            <a:alphaModFix/>
          </a:blip>
          <a:srcRect l="24841" r="26750" b="31126"/>
          <a:stretch/>
        </p:blipFill>
        <p:spPr>
          <a:xfrm>
            <a:off x="194784" y="6244994"/>
            <a:ext cx="658512" cy="52550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PE" smtClean="0"/>
              <a:t>abril de 2017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823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ustom Layout">
  <p:cSld name="11_Custom Layout">
    <p:bg>
      <p:bgPr>
        <a:solidFill>
          <a:schemeClr val="accent2"/>
        </a:solidFill>
        <a:effectLst/>
      </p:bgPr>
    </p:bg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0" name="Shape 420"/>
          <p:cNvGrpSpPr/>
          <p:nvPr/>
        </p:nvGrpSpPr>
        <p:grpSpPr>
          <a:xfrm rot="5400000">
            <a:off x="10335199" y="-268752"/>
            <a:ext cx="2627251" cy="3400105"/>
            <a:chOff x="8349573" y="-1673337"/>
            <a:chExt cx="6162676" cy="6416675"/>
          </a:xfrm>
        </p:grpSpPr>
        <p:sp>
          <p:nvSpPr>
            <p:cNvPr id="421" name="Shape 421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Shape 422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Shape 423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4" name="Shape 424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Shape 425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Shape 426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Shape 427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Shape 428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Shape 429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0" name="Shape 430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1" name="Shape 431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2" name="Shape 432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33" name="Shape 433"/>
          <p:cNvGrpSpPr/>
          <p:nvPr/>
        </p:nvGrpSpPr>
        <p:grpSpPr>
          <a:xfrm rot="5400000">
            <a:off x="-1051056" y="1288190"/>
            <a:ext cx="2438379" cy="3155673"/>
            <a:chOff x="8349573" y="-1673337"/>
            <a:chExt cx="6162676" cy="6416675"/>
          </a:xfrm>
        </p:grpSpPr>
        <p:sp>
          <p:nvSpPr>
            <p:cNvPr id="434" name="Shape 434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" name="Shape 435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" name="Shape 436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7" name="Shape 437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8" name="Shape 438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9" name="Shape 439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0" name="Shape 440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1" name="Shape 441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Shape 442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" name="Shape 443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4" name="Shape 444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Shape 445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46" name="Shape 446"/>
          <p:cNvGrpSpPr/>
          <p:nvPr/>
        </p:nvGrpSpPr>
        <p:grpSpPr>
          <a:xfrm rot="5400000">
            <a:off x="10910101" y="4659850"/>
            <a:ext cx="1813092" cy="2346445"/>
            <a:chOff x="8349573" y="-1673337"/>
            <a:chExt cx="6162676" cy="6416675"/>
          </a:xfrm>
        </p:grpSpPr>
        <p:sp>
          <p:nvSpPr>
            <p:cNvPr id="447" name="Shape 447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" name="Shape 448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" name="Shape 449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Shape 450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Shape 451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" name="Shape 452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" name="Shape 453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4" name="Shape 454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5" name="Shape 455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6" name="Shape 456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7" name="Shape 457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8" name="Shape 458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9" name="Shape 459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Shape 460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bg>
      <p:bgPr>
        <a:solidFill>
          <a:schemeClr val="accent1"/>
        </a:solidFill>
        <a:effectLst/>
      </p:bgPr>
    </p:bg>
    <p:spTree>
      <p:nvGrpSpPr>
        <p:cNvPr id="1" name="Shape 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7" name="Shape 467"/>
          <p:cNvGrpSpPr/>
          <p:nvPr/>
        </p:nvGrpSpPr>
        <p:grpSpPr>
          <a:xfrm rot="10800000">
            <a:off x="-1155699" y="-696273"/>
            <a:ext cx="14820899" cy="2936005"/>
            <a:chOff x="-412916" y="4500715"/>
            <a:chExt cx="13559800" cy="2936005"/>
          </a:xfrm>
        </p:grpSpPr>
        <p:sp>
          <p:nvSpPr>
            <p:cNvPr id="468" name="Shape 468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9" name="Shape 469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0" name="Shape 470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1" name="Shape 471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2" name="Shape 472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Shape 473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" name="Shape 474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5" name="Shape 475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6" name="Shape 476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Shape 477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" name="Shape 478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" name="Shape 479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Shape 480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Shape 481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Shape 482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Shape 483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Shape 484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Shape 485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Shape 486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Shape 487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Shape 488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Shape 489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Shape 490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Shape 491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Shape 492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Shape 493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Shape 494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Shape 495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Shape 496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Shape 497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Shape 498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Shape 499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0" name="Shape 500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" name="Shape 501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" name="Shape 502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" name="Shape 503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4" name="Shape 504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5" name="Shape 505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6" name="Shape 506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7" name="Shape 507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Shape 509"/>
          <p:cNvSpPr txBox="1"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Raleway"/>
              <a:buNone/>
              <a:defRPr sz="60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0" name="Shape 510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1" name="Shape 511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2" name="Shape 512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3" name="Shape 513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Shape 515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Raleway"/>
              <a:buNone/>
              <a:defRPr sz="44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6" name="Shape 5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7" name="Shape 517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8" name="Shape 518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9" name="Shape 519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Shape 52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2" name="Shape 522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3" name="Shape 523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Shape 525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4156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6" name="Shape 526"/>
          <p:cNvSpPr/>
          <p:nvPr/>
        </p:nvSpPr>
        <p:spPr>
          <a:xfrm rot="10800000">
            <a:off x="11464429" y="6315958"/>
            <a:ext cx="727571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7" name="Shape 527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pic>
        <p:nvPicPr>
          <p:cNvPr id="528" name="Shape 5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1036" y="6098041"/>
            <a:ext cx="1154328" cy="650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Shape 530"/>
          <p:cNvSpPr>
            <a:spLocks noGrp="1"/>
          </p:cNvSpPr>
          <p:nvPr>
            <p:ph type="pic" idx="2"/>
          </p:nvPr>
        </p:nvSpPr>
        <p:spPr>
          <a:xfrm>
            <a:off x="1" y="0"/>
            <a:ext cx="5370287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1" name="Shape 531"/>
          <p:cNvSpPr/>
          <p:nvPr/>
        </p:nvSpPr>
        <p:spPr>
          <a:xfrm rot="10800000">
            <a:off x="11464429" y="510908"/>
            <a:ext cx="727571" cy="443430"/>
          </a:xfrm>
          <a:prstGeom prst="homePlat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2" name="Shape 532"/>
          <p:cNvSpPr txBox="1">
            <a:spLocks noGrp="1"/>
          </p:cNvSpPr>
          <p:nvPr>
            <p:ph type="sldNum" idx="12"/>
          </p:nvPr>
        </p:nvSpPr>
        <p:spPr>
          <a:xfrm>
            <a:off x="11393719" y="545148"/>
            <a:ext cx="648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ustom Layout">
  <p:cSld name="4_Custom Layout"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Shape 534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5" name="Shape 535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bg>
      <p:bgPr>
        <a:solidFill>
          <a:schemeClr val="accent1"/>
        </a:solidFill>
        <a:effectLst/>
      </p:bgPr>
    </p:bg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" name="Shape 537"/>
          <p:cNvGrpSpPr/>
          <p:nvPr/>
        </p:nvGrpSpPr>
        <p:grpSpPr>
          <a:xfrm>
            <a:off x="-1447799" y="4500717"/>
            <a:ext cx="15544799" cy="2700184"/>
            <a:chOff x="-412916" y="4500715"/>
            <a:chExt cx="13559800" cy="2936005"/>
          </a:xfrm>
        </p:grpSpPr>
        <p:sp>
          <p:nvSpPr>
            <p:cNvPr id="538" name="Shape 538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Shape 539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Shape 540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1" name="Shape 541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2" name="Shape 542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Shape 543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4" name="Shape 544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Shape 545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6" name="Shape 546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" name="Shape 547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Shape 548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" name="Shape 549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Shape 550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1" name="Shape 551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2" name="Shape 552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Shape 553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Shape 554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5" name="Shape 555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6" name="Shape 556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7" name="Shape 557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8" name="Shape 558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" name="Shape 559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" name="Shape 560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1" name="Shape 561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2" name="Shape 562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Shape 563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4" name="Shape 564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Shape 565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6" name="Shape 566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7" name="Shape 567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" name="Shape 568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9" name="Shape 569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Shape 570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Shape 571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2" name="Shape 572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Shape 573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4" name="Shape 574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Shape 575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76" name="Shape 576"/>
          <p:cNvGrpSpPr/>
          <p:nvPr/>
        </p:nvGrpSpPr>
        <p:grpSpPr>
          <a:xfrm rot="1737091">
            <a:off x="-1509136" y="217289"/>
            <a:ext cx="3018272" cy="2440750"/>
            <a:chOff x="8349573" y="-1673337"/>
            <a:chExt cx="6162676" cy="6416675"/>
          </a:xfrm>
        </p:grpSpPr>
        <p:sp>
          <p:nvSpPr>
            <p:cNvPr id="577" name="Shape 577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8" name="Shape 578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" name="Shape 579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Shape 580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Shape 581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2" name="Shape 582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3" name="Shape 583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" name="Shape 584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Shape 585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6" name="Shape 586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7" name="Shape 587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8" name="Shape 588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89" name="Shape 589"/>
          <p:cNvGrpSpPr/>
          <p:nvPr/>
        </p:nvGrpSpPr>
        <p:grpSpPr>
          <a:xfrm>
            <a:off x="10942710" y="1957633"/>
            <a:ext cx="2338271" cy="1910862"/>
            <a:chOff x="8349573" y="-1673337"/>
            <a:chExt cx="6162676" cy="6416675"/>
          </a:xfrm>
        </p:grpSpPr>
        <p:sp>
          <p:nvSpPr>
            <p:cNvPr id="590" name="Shape 590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1" name="Shape 591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2" name="Shape 592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3" name="Shape 593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4" name="Shape 594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5" name="Shape 595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6" name="Shape 596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7" name="Shape 597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" name="Shape 598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" name="Shape 599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0" name="Shape 600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1" name="Shape 601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2" name="Shape 602"/>
          <p:cNvSpPr>
            <a:spLocks noGrp="1"/>
          </p:cNvSpPr>
          <p:nvPr>
            <p:ph type="pic" idx="2"/>
          </p:nvPr>
        </p:nvSpPr>
        <p:spPr>
          <a:xfrm>
            <a:off x="1044821" y="671296"/>
            <a:ext cx="2064000" cy="1548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03" name="Shape 603"/>
          <p:cNvSpPr>
            <a:spLocks noGrp="1"/>
          </p:cNvSpPr>
          <p:nvPr>
            <p:ph type="pic" idx="3"/>
          </p:nvPr>
        </p:nvSpPr>
        <p:spPr>
          <a:xfrm>
            <a:off x="6439239" y="916877"/>
            <a:ext cx="2496000" cy="187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04" name="Shape 604"/>
          <p:cNvSpPr>
            <a:spLocks noGrp="1"/>
          </p:cNvSpPr>
          <p:nvPr>
            <p:ph type="pic" idx="4"/>
          </p:nvPr>
        </p:nvSpPr>
        <p:spPr>
          <a:xfrm>
            <a:off x="3572884" y="1947076"/>
            <a:ext cx="2160000" cy="1620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05" name="Shape 605"/>
          <p:cNvSpPr>
            <a:spLocks noGrp="1"/>
          </p:cNvSpPr>
          <p:nvPr>
            <p:ph type="pic" idx="5"/>
          </p:nvPr>
        </p:nvSpPr>
        <p:spPr>
          <a:xfrm>
            <a:off x="8258932" y="2820063"/>
            <a:ext cx="2496000" cy="187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06" name="Shape 606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7" name="Shape 607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ustom Layout">
  <p:cSld name="11_Custom Layout">
    <p:bg>
      <p:bgPr>
        <a:solidFill>
          <a:schemeClr val="accent2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Shape 30"/>
          <p:cNvGrpSpPr/>
          <p:nvPr/>
        </p:nvGrpSpPr>
        <p:grpSpPr>
          <a:xfrm rot="5400000">
            <a:off x="10335199" y="-268752"/>
            <a:ext cx="2627251" cy="3400105"/>
            <a:chOff x="8349573" y="-1673337"/>
            <a:chExt cx="6162676" cy="6416675"/>
          </a:xfrm>
        </p:grpSpPr>
        <p:sp>
          <p:nvSpPr>
            <p:cNvPr id="31" name="Shape 31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Shape 32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Shape 33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Shape 34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Shape 35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Shape 36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Shape 37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Shape 38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Shape 39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Shape 40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3" name="Shape 43"/>
          <p:cNvGrpSpPr/>
          <p:nvPr/>
        </p:nvGrpSpPr>
        <p:grpSpPr>
          <a:xfrm rot="5400000">
            <a:off x="-1051056" y="1288190"/>
            <a:ext cx="2438379" cy="3155673"/>
            <a:chOff x="8349573" y="-1673337"/>
            <a:chExt cx="6162676" cy="6416675"/>
          </a:xfrm>
        </p:grpSpPr>
        <p:sp>
          <p:nvSpPr>
            <p:cNvPr id="44" name="Shape 44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Shape 45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Shape 46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Shape 51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Shape 52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Shape 53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Shape 54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Shape 55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6" name="Shape 56"/>
          <p:cNvGrpSpPr/>
          <p:nvPr/>
        </p:nvGrpSpPr>
        <p:grpSpPr>
          <a:xfrm rot="5400000">
            <a:off x="10910101" y="4659850"/>
            <a:ext cx="1813092" cy="2346445"/>
            <a:chOff x="8349573" y="-1673337"/>
            <a:chExt cx="6162676" cy="6416675"/>
          </a:xfrm>
        </p:grpSpPr>
        <p:sp>
          <p:nvSpPr>
            <p:cNvPr id="57" name="Shape 57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Shape 58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Shape 59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Shape 60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Shape 61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Shape 62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Shape 63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Shape 64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Shape 65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Shape 66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Shape 67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" name="Shape 69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Shape 70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bg>
      <p:bgPr>
        <a:solidFill>
          <a:schemeClr val="accent2"/>
        </a:solidFill>
        <a:effectLst/>
      </p:bgPr>
    </p:bg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" name="Shape 609"/>
          <p:cNvGrpSpPr/>
          <p:nvPr/>
        </p:nvGrpSpPr>
        <p:grpSpPr>
          <a:xfrm rot="5400000">
            <a:off x="10335199" y="-268752"/>
            <a:ext cx="2627251" cy="3400105"/>
            <a:chOff x="8349573" y="-1673337"/>
            <a:chExt cx="6162676" cy="6416675"/>
          </a:xfrm>
        </p:grpSpPr>
        <p:sp>
          <p:nvSpPr>
            <p:cNvPr id="610" name="Shape 610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1" name="Shape 611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2" name="Shape 612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3" name="Shape 613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4" name="Shape 614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5" name="Shape 615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Shape 616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7" name="Shape 617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8" name="Shape 618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9" name="Shape 619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0" name="Shape 620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" name="Shape 621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22" name="Shape 622"/>
          <p:cNvGrpSpPr/>
          <p:nvPr/>
        </p:nvGrpSpPr>
        <p:grpSpPr>
          <a:xfrm rot="5400000">
            <a:off x="-1051056" y="1288190"/>
            <a:ext cx="2438379" cy="3155673"/>
            <a:chOff x="8349573" y="-1673337"/>
            <a:chExt cx="6162676" cy="6416675"/>
          </a:xfrm>
        </p:grpSpPr>
        <p:sp>
          <p:nvSpPr>
            <p:cNvPr id="623" name="Shape 623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4" name="Shape 624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5" name="Shape 625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6" name="Shape 626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7" name="Shape 627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" name="Shape 628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Shape 629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0" name="Shape 630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1" name="Shape 631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2" name="Shape 632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3" name="Shape 633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Shape 634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35" name="Shape 635"/>
          <p:cNvGrpSpPr/>
          <p:nvPr/>
        </p:nvGrpSpPr>
        <p:grpSpPr>
          <a:xfrm rot="5400000">
            <a:off x="10910101" y="4659850"/>
            <a:ext cx="1813092" cy="2346445"/>
            <a:chOff x="8349573" y="-1673337"/>
            <a:chExt cx="6162676" cy="6416675"/>
          </a:xfrm>
        </p:grpSpPr>
        <p:sp>
          <p:nvSpPr>
            <p:cNvPr id="636" name="Shape 636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7" name="Shape 637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8" name="Shape 638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9" name="Shape 639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0" name="Shape 640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1" name="Shape 641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2" name="Shape 642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3" name="Shape 643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Shape 644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Shape 645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6" name="Shape 646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7" name="Shape 647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8" name="Shape 648"/>
          <p:cNvSpPr>
            <a:spLocks noGrp="1"/>
          </p:cNvSpPr>
          <p:nvPr>
            <p:ph type="pic" idx="2"/>
          </p:nvPr>
        </p:nvSpPr>
        <p:spPr>
          <a:xfrm>
            <a:off x="1134795" y="811026"/>
            <a:ext cx="2112000" cy="158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49" name="Shape 649"/>
          <p:cNvSpPr>
            <a:spLocks noGrp="1"/>
          </p:cNvSpPr>
          <p:nvPr>
            <p:ph type="pic" idx="3"/>
          </p:nvPr>
        </p:nvSpPr>
        <p:spPr>
          <a:xfrm>
            <a:off x="930400" y="3534474"/>
            <a:ext cx="2352000" cy="176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50" name="Shape 650"/>
          <p:cNvSpPr>
            <a:spLocks noGrp="1"/>
          </p:cNvSpPr>
          <p:nvPr>
            <p:ph type="pic" idx="4"/>
          </p:nvPr>
        </p:nvSpPr>
        <p:spPr>
          <a:xfrm>
            <a:off x="3529195" y="2122065"/>
            <a:ext cx="2112000" cy="158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51" name="Shape 651"/>
          <p:cNvSpPr>
            <a:spLocks noGrp="1"/>
          </p:cNvSpPr>
          <p:nvPr>
            <p:ph type="pic" idx="5"/>
          </p:nvPr>
        </p:nvSpPr>
        <p:spPr>
          <a:xfrm>
            <a:off x="6437839" y="1531278"/>
            <a:ext cx="1872000" cy="140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52" name="Shape 652"/>
          <p:cNvSpPr>
            <a:spLocks noGrp="1"/>
          </p:cNvSpPr>
          <p:nvPr>
            <p:ph type="pic" idx="6"/>
          </p:nvPr>
        </p:nvSpPr>
        <p:spPr>
          <a:xfrm>
            <a:off x="9159351" y="2998033"/>
            <a:ext cx="2400000" cy="1800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53" name="Shape 653"/>
          <p:cNvSpPr>
            <a:spLocks noGrp="1"/>
          </p:cNvSpPr>
          <p:nvPr>
            <p:ph type="pic" idx="7"/>
          </p:nvPr>
        </p:nvSpPr>
        <p:spPr>
          <a:xfrm>
            <a:off x="6456967" y="4709757"/>
            <a:ext cx="2064000" cy="1548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54" name="Shape 654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5" name="Shape 655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ustom Layout">
  <p:cSld name="7_Custom Layout">
    <p:bg>
      <p:bgPr>
        <a:solidFill>
          <a:schemeClr val="accent3"/>
        </a:solidFill>
        <a:effectLst/>
      </p:bgPr>
    </p:bg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7" name="Shape 657"/>
          <p:cNvGrpSpPr/>
          <p:nvPr/>
        </p:nvGrpSpPr>
        <p:grpSpPr>
          <a:xfrm rot="10800000">
            <a:off x="-1155699" y="-696273"/>
            <a:ext cx="14820899" cy="2936005"/>
            <a:chOff x="-412916" y="4500715"/>
            <a:chExt cx="13559800" cy="2936005"/>
          </a:xfrm>
        </p:grpSpPr>
        <p:sp>
          <p:nvSpPr>
            <p:cNvPr id="658" name="Shape 658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9" name="Shape 659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0" name="Shape 660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1" name="Shape 661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2" name="Shape 662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3" name="Shape 663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Shape 664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5" name="Shape 665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6" name="Shape 666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7" name="Shape 667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8" name="Shape 668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" name="Shape 669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" name="Shape 670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" name="Shape 671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2" name="Shape 672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3" name="Shape 673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4" name="Shape 674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5" name="Shape 675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Shape 676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7" name="Shape 677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8" name="Shape 678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Shape 679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Shape 680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Shape 681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Shape 682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3" name="Shape 683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Shape 684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5" name="Shape 685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6" name="Shape 686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7" name="Shape 687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8" name="Shape 688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Shape 689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0" name="Shape 690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1" name="Shape 691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2" name="Shape 692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3" name="Shape 693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Shape 694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Shape 695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6" name="Shape 696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7" name="Shape 697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698" name="Shape 698"/>
          <p:cNvSpPr>
            <a:spLocks noGrp="1"/>
          </p:cNvSpPr>
          <p:nvPr>
            <p:ph type="pic" idx="2"/>
          </p:nvPr>
        </p:nvSpPr>
        <p:spPr>
          <a:xfrm>
            <a:off x="1632869" y="4298748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699" name="Shape 699"/>
          <p:cNvSpPr>
            <a:spLocks noGrp="1"/>
          </p:cNvSpPr>
          <p:nvPr>
            <p:ph type="pic" idx="3"/>
          </p:nvPr>
        </p:nvSpPr>
        <p:spPr>
          <a:xfrm>
            <a:off x="713540" y="3589943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700" name="Shape 700"/>
          <p:cNvSpPr>
            <a:spLocks noGrp="1"/>
          </p:cNvSpPr>
          <p:nvPr>
            <p:ph type="pic" idx="4"/>
          </p:nvPr>
        </p:nvSpPr>
        <p:spPr>
          <a:xfrm>
            <a:off x="722877" y="5017239"/>
            <a:ext cx="1776000" cy="133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701" name="Shape 701"/>
          <p:cNvSpPr>
            <a:spLocks noGrp="1"/>
          </p:cNvSpPr>
          <p:nvPr>
            <p:ph type="pic" idx="5"/>
          </p:nvPr>
        </p:nvSpPr>
        <p:spPr>
          <a:xfrm>
            <a:off x="3875665" y="3054737"/>
            <a:ext cx="1872000" cy="140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702" name="Shape 702"/>
          <p:cNvSpPr>
            <a:spLocks noGrp="1"/>
          </p:cNvSpPr>
          <p:nvPr>
            <p:ph type="pic" idx="6"/>
          </p:nvPr>
        </p:nvSpPr>
        <p:spPr>
          <a:xfrm>
            <a:off x="6526355" y="2579840"/>
            <a:ext cx="2352000" cy="176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703" name="Shape 703"/>
          <p:cNvSpPr>
            <a:spLocks noGrp="1"/>
          </p:cNvSpPr>
          <p:nvPr>
            <p:ph type="pic" idx="7"/>
          </p:nvPr>
        </p:nvSpPr>
        <p:spPr>
          <a:xfrm>
            <a:off x="6406309" y="4696606"/>
            <a:ext cx="1968000" cy="1476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Shape 705"/>
          <p:cNvSpPr>
            <a:spLocks noGrp="1"/>
          </p:cNvSpPr>
          <p:nvPr>
            <p:ph type="pic" idx="2"/>
          </p:nvPr>
        </p:nvSpPr>
        <p:spPr>
          <a:xfrm>
            <a:off x="0" y="2433638"/>
            <a:ext cx="12192000" cy="442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6" name="Shape 706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7" name="Shape 707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ustom Layout">
  <p:cSld name="9_Custom Layout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Shape 709"/>
          <p:cNvSpPr>
            <a:spLocks noGrp="1"/>
          </p:cNvSpPr>
          <p:nvPr>
            <p:ph type="pic" idx="2"/>
          </p:nvPr>
        </p:nvSpPr>
        <p:spPr>
          <a:xfrm>
            <a:off x="0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0" name="Shape 710"/>
          <p:cNvSpPr>
            <a:spLocks noGrp="1"/>
          </p:cNvSpPr>
          <p:nvPr>
            <p:ph type="pic" idx="3"/>
          </p:nvPr>
        </p:nvSpPr>
        <p:spPr>
          <a:xfrm>
            <a:off x="0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1" name="Shape 711"/>
          <p:cNvSpPr>
            <a:spLocks noGrp="1"/>
          </p:cNvSpPr>
          <p:nvPr>
            <p:ph type="pic" idx="4"/>
          </p:nvPr>
        </p:nvSpPr>
        <p:spPr>
          <a:xfrm>
            <a:off x="0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2" name="Shape 712"/>
          <p:cNvSpPr>
            <a:spLocks noGrp="1"/>
          </p:cNvSpPr>
          <p:nvPr>
            <p:ph type="pic" idx="5"/>
          </p:nvPr>
        </p:nvSpPr>
        <p:spPr>
          <a:xfrm>
            <a:off x="2037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3" name="Shape 713"/>
          <p:cNvSpPr>
            <a:spLocks noGrp="1"/>
          </p:cNvSpPr>
          <p:nvPr>
            <p:ph type="pic" idx="6"/>
          </p:nvPr>
        </p:nvSpPr>
        <p:spPr>
          <a:xfrm>
            <a:off x="2037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4" name="Shape 714"/>
          <p:cNvSpPr>
            <a:spLocks noGrp="1"/>
          </p:cNvSpPr>
          <p:nvPr>
            <p:ph type="pic" idx="7"/>
          </p:nvPr>
        </p:nvSpPr>
        <p:spPr>
          <a:xfrm>
            <a:off x="2037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5" name="Shape 715"/>
          <p:cNvSpPr>
            <a:spLocks noGrp="1"/>
          </p:cNvSpPr>
          <p:nvPr>
            <p:ph type="pic" idx="8"/>
          </p:nvPr>
        </p:nvSpPr>
        <p:spPr>
          <a:xfrm>
            <a:off x="4071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6" name="Shape 716"/>
          <p:cNvSpPr>
            <a:spLocks noGrp="1"/>
          </p:cNvSpPr>
          <p:nvPr>
            <p:ph type="pic" idx="9"/>
          </p:nvPr>
        </p:nvSpPr>
        <p:spPr>
          <a:xfrm>
            <a:off x="4071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7" name="Shape 717"/>
          <p:cNvSpPr>
            <a:spLocks noGrp="1"/>
          </p:cNvSpPr>
          <p:nvPr>
            <p:ph type="pic" idx="13"/>
          </p:nvPr>
        </p:nvSpPr>
        <p:spPr>
          <a:xfrm>
            <a:off x="4071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8" name="Shape 718"/>
          <p:cNvSpPr>
            <a:spLocks noGrp="1"/>
          </p:cNvSpPr>
          <p:nvPr>
            <p:ph type="pic" idx="14"/>
          </p:nvPr>
        </p:nvSpPr>
        <p:spPr>
          <a:xfrm>
            <a:off x="610863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9" name="Shape 719"/>
          <p:cNvSpPr>
            <a:spLocks noGrp="1"/>
          </p:cNvSpPr>
          <p:nvPr>
            <p:ph type="pic" idx="15"/>
          </p:nvPr>
        </p:nvSpPr>
        <p:spPr>
          <a:xfrm>
            <a:off x="6108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0" name="Shape 720"/>
          <p:cNvSpPr>
            <a:spLocks noGrp="1"/>
          </p:cNvSpPr>
          <p:nvPr>
            <p:ph type="pic" idx="16"/>
          </p:nvPr>
        </p:nvSpPr>
        <p:spPr>
          <a:xfrm>
            <a:off x="610863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1" name="Shape 721"/>
          <p:cNvSpPr>
            <a:spLocks noGrp="1"/>
          </p:cNvSpPr>
          <p:nvPr>
            <p:ph type="pic" idx="17"/>
          </p:nvPr>
        </p:nvSpPr>
        <p:spPr>
          <a:xfrm>
            <a:off x="8139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2" name="Shape 722"/>
          <p:cNvSpPr>
            <a:spLocks noGrp="1"/>
          </p:cNvSpPr>
          <p:nvPr>
            <p:ph type="pic" idx="18"/>
          </p:nvPr>
        </p:nvSpPr>
        <p:spPr>
          <a:xfrm>
            <a:off x="8139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3" name="Shape 723"/>
          <p:cNvSpPr>
            <a:spLocks noGrp="1"/>
          </p:cNvSpPr>
          <p:nvPr>
            <p:ph type="pic" idx="19"/>
          </p:nvPr>
        </p:nvSpPr>
        <p:spPr>
          <a:xfrm>
            <a:off x="8139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4" name="Shape 724"/>
          <p:cNvSpPr>
            <a:spLocks noGrp="1"/>
          </p:cNvSpPr>
          <p:nvPr>
            <p:ph type="pic" idx="20"/>
          </p:nvPr>
        </p:nvSpPr>
        <p:spPr>
          <a:xfrm>
            <a:off x="1017663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5" name="Shape 725"/>
          <p:cNvSpPr>
            <a:spLocks noGrp="1"/>
          </p:cNvSpPr>
          <p:nvPr>
            <p:ph type="pic" idx="21"/>
          </p:nvPr>
        </p:nvSpPr>
        <p:spPr>
          <a:xfrm>
            <a:off x="10176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6" name="Shape 726"/>
          <p:cNvSpPr>
            <a:spLocks noGrp="1"/>
          </p:cNvSpPr>
          <p:nvPr>
            <p:ph type="pic" idx="22"/>
          </p:nvPr>
        </p:nvSpPr>
        <p:spPr>
          <a:xfrm>
            <a:off x="1017663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Custom Layout">
  <p:cSld name="18_Custom Layout">
    <p:spTree>
      <p:nvGrpSpPr>
        <p:cNvPr id="1" name="Shape 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Shape 728"/>
          <p:cNvSpPr>
            <a:spLocks noGrp="1"/>
          </p:cNvSpPr>
          <p:nvPr>
            <p:ph type="pic" idx="2"/>
          </p:nvPr>
        </p:nvSpPr>
        <p:spPr>
          <a:xfrm>
            <a:off x="0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9" name="Shape 729"/>
          <p:cNvSpPr>
            <a:spLocks noGrp="1"/>
          </p:cNvSpPr>
          <p:nvPr>
            <p:ph type="pic" idx="3"/>
          </p:nvPr>
        </p:nvSpPr>
        <p:spPr>
          <a:xfrm>
            <a:off x="0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0" name="Shape 730"/>
          <p:cNvSpPr>
            <a:spLocks noGrp="1"/>
          </p:cNvSpPr>
          <p:nvPr>
            <p:ph type="pic" idx="4"/>
          </p:nvPr>
        </p:nvSpPr>
        <p:spPr>
          <a:xfrm>
            <a:off x="203731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1" name="Shape 731"/>
          <p:cNvSpPr>
            <a:spLocks noGrp="1"/>
          </p:cNvSpPr>
          <p:nvPr>
            <p:ph type="pic" idx="5"/>
          </p:nvPr>
        </p:nvSpPr>
        <p:spPr>
          <a:xfrm>
            <a:off x="4071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2" name="Shape 732"/>
          <p:cNvSpPr>
            <a:spLocks noGrp="1"/>
          </p:cNvSpPr>
          <p:nvPr>
            <p:ph type="pic" idx="6"/>
          </p:nvPr>
        </p:nvSpPr>
        <p:spPr>
          <a:xfrm>
            <a:off x="4071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3" name="Shape 733"/>
          <p:cNvSpPr>
            <a:spLocks noGrp="1"/>
          </p:cNvSpPr>
          <p:nvPr>
            <p:ph type="pic" idx="7"/>
          </p:nvPr>
        </p:nvSpPr>
        <p:spPr>
          <a:xfrm>
            <a:off x="6108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4" name="Shape 734"/>
          <p:cNvSpPr>
            <a:spLocks noGrp="1"/>
          </p:cNvSpPr>
          <p:nvPr>
            <p:ph type="pic" idx="8"/>
          </p:nvPr>
        </p:nvSpPr>
        <p:spPr>
          <a:xfrm>
            <a:off x="8139319" y="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5" name="Shape 735"/>
          <p:cNvSpPr>
            <a:spLocks noGrp="1"/>
          </p:cNvSpPr>
          <p:nvPr>
            <p:ph type="pic" idx="9"/>
          </p:nvPr>
        </p:nvSpPr>
        <p:spPr>
          <a:xfrm>
            <a:off x="8139319" y="4572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6" name="Shape 736"/>
          <p:cNvSpPr>
            <a:spLocks noGrp="1"/>
          </p:cNvSpPr>
          <p:nvPr>
            <p:ph type="pic" idx="13"/>
          </p:nvPr>
        </p:nvSpPr>
        <p:spPr>
          <a:xfrm>
            <a:off x="10176639" y="2286000"/>
            <a:ext cx="20340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ustom Layout">
  <p:cSld name="12_Custom Layout">
    <p:bg>
      <p:bgPr>
        <a:solidFill>
          <a:schemeClr val="accent3"/>
        </a:solidFill>
        <a:effectLst/>
      </p:bgPr>
    </p:bg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Shape 738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9" name="Shape 739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grpSp>
        <p:nvGrpSpPr>
          <p:cNvPr id="740" name="Shape 740"/>
          <p:cNvGrpSpPr/>
          <p:nvPr/>
        </p:nvGrpSpPr>
        <p:grpSpPr>
          <a:xfrm>
            <a:off x="-1447799" y="4500717"/>
            <a:ext cx="15544799" cy="2700184"/>
            <a:chOff x="-412916" y="4500715"/>
            <a:chExt cx="13559800" cy="2936005"/>
          </a:xfrm>
        </p:grpSpPr>
        <p:sp>
          <p:nvSpPr>
            <p:cNvPr id="741" name="Shape 741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2" name="Shape 742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3" name="Shape 743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" name="Shape 744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Shape 745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6" name="Shape 746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Shape 747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Shape 748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9" name="Shape 749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Shape 750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Shape 751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2" name="Shape 752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Shape 753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4" name="Shape 754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5" name="Shape 755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6" name="Shape 756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Shape 757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Shape 758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Shape 759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0" name="Shape 760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1" name="Shape 761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2" name="Shape 762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3" name="Shape 763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4" name="Shape 764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5" name="Shape 765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6" name="Shape 766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Shape 767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8" name="Shape 768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9" name="Shape 769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0" name="Shape 770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1" name="Shape 771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2" name="Shape 772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3" name="Shape 773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4" name="Shape 774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5" name="Shape 775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6" name="Shape 776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7" name="Shape 777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8" name="Shape 778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79" name="Shape 779"/>
          <p:cNvGrpSpPr/>
          <p:nvPr/>
        </p:nvGrpSpPr>
        <p:grpSpPr>
          <a:xfrm rot="1737091">
            <a:off x="-1509136" y="217289"/>
            <a:ext cx="3018272" cy="2440750"/>
            <a:chOff x="8349573" y="-1673337"/>
            <a:chExt cx="6162676" cy="6416675"/>
          </a:xfrm>
        </p:grpSpPr>
        <p:sp>
          <p:nvSpPr>
            <p:cNvPr id="780" name="Shape 780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1" name="Shape 781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2" name="Shape 782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3" name="Shape 783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4" name="Shape 784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5" name="Shape 785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6" name="Shape 786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7" name="Shape 787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8" name="Shape 788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" name="Shape 789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" name="Shape 790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1" name="Shape 791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92" name="Shape 792"/>
          <p:cNvGrpSpPr/>
          <p:nvPr/>
        </p:nvGrpSpPr>
        <p:grpSpPr>
          <a:xfrm>
            <a:off x="10942710" y="1957633"/>
            <a:ext cx="2338271" cy="1910862"/>
            <a:chOff x="8349573" y="-1673337"/>
            <a:chExt cx="6162676" cy="6416675"/>
          </a:xfrm>
        </p:grpSpPr>
        <p:sp>
          <p:nvSpPr>
            <p:cNvPr id="793" name="Shape 793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4" name="Shape 794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5" name="Shape 795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6" name="Shape 796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" name="Shape 797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8" name="Shape 798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" name="Shape 799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" name="Shape 800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1" name="Shape 801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2" name="Shape 802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3" name="Shape 803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4" name="Shape 804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ustom Layout">
  <p:cSld name="13_Custom Layout">
    <p:bg>
      <p:bgPr>
        <a:solidFill>
          <a:schemeClr val="accent1"/>
        </a:solidFill>
        <a:effectLst/>
      </p:bgPr>
    </p:bg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Shape 806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7" name="Shape 807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4_Custom Layout">
    <p:bg>
      <p:bgPr>
        <a:solidFill>
          <a:schemeClr val="accent2"/>
        </a:solidFill>
        <a:effectLst/>
      </p:bgPr>
    </p:bg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Shape 809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0" name="Shape 810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bg>
      <p:bgPr>
        <a:solidFill>
          <a:schemeClr val="accent5"/>
        </a:solidFill>
        <a:effectLst/>
      </p:bgPr>
    </p:bg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Shape 812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3" name="Shape 813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ustom Layout">
  <p:cSld name="17_Custom Layout">
    <p:bg>
      <p:bgPr>
        <a:solidFill>
          <a:schemeClr val="accent6"/>
        </a:solidFill>
        <a:effectLst/>
      </p:bgPr>
    </p:bg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Shape 815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6" name="Shape 816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Raleway"/>
              <a:buNone/>
              <a:defRPr sz="44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Custom Layout">
  <p:cSld name="15_Custom Layout">
    <p:bg>
      <p:bgPr>
        <a:solidFill>
          <a:schemeClr val="accent4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Shape 818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9" name="Shape 819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de think-cell" r:id="rId4" imgW="344" imgH="344" progId="TCLayout.ActiveDocument.1">
                  <p:embed/>
                </p:oleObj>
              </mc:Choice>
              <mc:Fallback>
                <p:oleObj name="Diapositiva de think-cell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PE" smtClean="0"/>
              <a:t>abril de 2017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7163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BLANK"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Shape 829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0" name="Shape 830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1" name="Shape 831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32" name="Shape 832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3" name="Shape 8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>
  <p:cSld name="Title and Content"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Shape 835"/>
          <p:cNvSpPr txBox="1">
            <a:spLocks noGrp="1"/>
          </p:cNvSpPr>
          <p:nvPr>
            <p:ph type="title"/>
          </p:nvPr>
        </p:nvSpPr>
        <p:spPr>
          <a:xfrm>
            <a:off x="427569" y="374650"/>
            <a:ext cx="10382251" cy="984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6" name="Shape 836"/>
          <p:cNvSpPr txBox="1">
            <a:spLocks noGrp="1"/>
          </p:cNvSpPr>
          <p:nvPr>
            <p:ph type="body" idx="1"/>
          </p:nvPr>
        </p:nvSpPr>
        <p:spPr>
          <a:xfrm>
            <a:off x="427570" y="1393825"/>
            <a:ext cx="11374967" cy="4979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7" name="Shape 837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8" name="Shape 838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9" name="Shape 839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ulo">
  <p:cSld name="Titulo">
    <p:spTree>
      <p:nvGrpSpPr>
        <p:cNvPr id="1" name="Shape 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" name="Shape 841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842" name="Shape 842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3" name="Shape 8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844" name="Shape 844"/>
          <p:cNvSpPr txBox="1">
            <a:spLocks noGrp="1"/>
          </p:cNvSpPr>
          <p:nvPr>
            <p:ph type="title"/>
          </p:nvPr>
        </p:nvSpPr>
        <p:spPr>
          <a:xfrm>
            <a:off x="427570" y="301215"/>
            <a:ext cx="9923577" cy="105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5" name="Shape 845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6" name="Shape 846"/>
          <p:cNvSpPr txBox="1">
            <a:spLocks noGrp="1"/>
          </p:cNvSpPr>
          <p:nvPr>
            <p:ph type="ftr" idx="11"/>
          </p:nvPr>
        </p:nvSpPr>
        <p:spPr>
          <a:xfrm>
            <a:off x="2258484" y="6604622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7" name="Shape 847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48" name="Shape 848"/>
          <p:cNvSpPr txBox="1">
            <a:spLocks noGrp="1"/>
          </p:cNvSpPr>
          <p:nvPr>
            <p:ph type="body" idx="1"/>
          </p:nvPr>
        </p:nvSpPr>
        <p:spPr>
          <a:xfrm>
            <a:off x="427570" y="1484784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3">
  <p:cSld name="PO3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Shape 850"/>
          <p:cNvSpPr txBox="1">
            <a:spLocks noGrp="1"/>
          </p:cNvSpPr>
          <p:nvPr>
            <p:ph type="title"/>
          </p:nvPr>
        </p:nvSpPr>
        <p:spPr>
          <a:xfrm>
            <a:off x="427569" y="374650"/>
            <a:ext cx="10382251" cy="984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51" name="Shape 851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52" name="Shape 852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" name="Shape 853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4" name="Shape 854"/>
          <p:cNvSpPr txBox="1"/>
          <p:nvPr/>
        </p:nvSpPr>
        <p:spPr>
          <a:xfrm>
            <a:off x="8957733" y="658019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fld id="{00000000-1234-1234-1234-123412341234}" type="slidenum">
              <a:rPr lang="es-PE" sz="750" b="0" i="0" u="none" strike="noStrike" cap="none">
                <a:solidFill>
                  <a:srgbClr val="0BAADD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750" b="0" i="0" u="none" strike="noStrike" cap="none">
              <a:solidFill>
                <a:srgbClr val="0BAADD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5" name="Shape 855"/>
          <p:cNvSpPr/>
          <p:nvPr/>
        </p:nvSpPr>
        <p:spPr>
          <a:xfrm>
            <a:off x="609601" y="4652963"/>
            <a:ext cx="5251451" cy="1655762"/>
          </a:xfrm>
          <a:prstGeom prst="rect">
            <a:avLst/>
          </a:prstGeom>
          <a:solidFill>
            <a:srgbClr val="BCBEE6">
              <a:alpha val="2941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6563C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6" name="Shape 856"/>
          <p:cNvSpPr/>
          <p:nvPr/>
        </p:nvSpPr>
        <p:spPr>
          <a:xfrm>
            <a:off x="6146802" y="4652963"/>
            <a:ext cx="5380567" cy="1655762"/>
          </a:xfrm>
          <a:prstGeom prst="rect">
            <a:avLst/>
          </a:prstGeom>
          <a:solidFill>
            <a:srgbClr val="BCBEE6">
              <a:alpha val="29411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s-PE"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7" name="Shape 857"/>
          <p:cNvSpPr/>
          <p:nvPr/>
        </p:nvSpPr>
        <p:spPr>
          <a:xfrm>
            <a:off x="609602" y="3010239"/>
            <a:ext cx="10917767" cy="1358900"/>
          </a:xfrm>
          <a:prstGeom prst="rect">
            <a:avLst/>
          </a:prstGeom>
          <a:solidFill>
            <a:srgbClr val="BCBEE6">
              <a:alpha val="50196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s-PE" sz="1200" b="0" i="0" u="none" strike="noStrike" cap="none">
                <a:solidFill>
                  <a:srgbClr val="6563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8" name="Shape 858"/>
          <p:cNvSpPr txBox="1">
            <a:spLocks noGrp="1"/>
          </p:cNvSpPr>
          <p:nvPr>
            <p:ph type="body" idx="1"/>
          </p:nvPr>
        </p:nvSpPr>
        <p:spPr>
          <a:xfrm>
            <a:off x="665374" y="3030790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59" name="Shape 859"/>
          <p:cNvSpPr txBox="1">
            <a:spLocks noGrp="1"/>
          </p:cNvSpPr>
          <p:nvPr>
            <p:ph type="body" idx="2"/>
          </p:nvPr>
        </p:nvSpPr>
        <p:spPr>
          <a:xfrm>
            <a:off x="665374" y="4672536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0" name="Shape 860"/>
          <p:cNvSpPr txBox="1">
            <a:spLocks noGrp="1"/>
          </p:cNvSpPr>
          <p:nvPr>
            <p:ph type="body" idx="3"/>
          </p:nvPr>
        </p:nvSpPr>
        <p:spPr>
          <a:xfrm>
            <a:off x="6204366" y="4674329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1" name="Shape 861"/>
          <p:cNvSpPr txBox="1">
            <a:spLocks noGrp="1"/>
          </p:cNvSpPr>
          <p:nvPr>
            <p:ph type="body" idx="4"/>
          </p:nvPr>
        </p:nvSpPr>
        <p:spPr>
          <a:xfrm>
            <a:off x="665374" y="3334618"/>
            <a:ext cx="10795108" cy="948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2" name="Shape 862"/>
          <p:cNvSpPr txBox="1">
            <a:spLocks noGrp="1"/>
          </p:cNvSpPr>
          <p:nvPr>
            <p:ph type="body" idx="5"/>
          </p:nvPr>
        </p:nvSpPr>
        <p:spPr>
          <a:xfrm>
            <a:off x="665374" y="4976364"/>
            <a:ext cx="5152799" cy="1253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3" name="Shape 863"/>
          <p:cNvSpPr/>
          <p:nvPr/>
        </p:nvSpPr>
        <p:spPr>
          <a:xfrm>
            <a:off x="609602" y="1367515"/>
            <a:ext cx="10917767" cy="1358900"/>
          </a:xfrm>
          <a:prstGeom prst="rect">
            <a:avLst/>
          </a:prstGeom>
          <a:solidFill>
            <a:srgbClr val="9C9FD9">
              <a:alpha val="50196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s-PE" sz="1200" b="0" i="0" u="none" strike="noStrike" cap="none">
                <a:solidFill>
                  <a:srgbClr val="6563C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4" name="Shape 864"/>
          <p:cNvSpPr txBox="1">
            <a:spLocks noGrp="1"/>
          </p:cNvSpPr>
          <p:nvPr>
            <p:ph type="body" idx="6"/>
          </p:nvPr>
        </p:nvSpPr>
        <p:spPr>
          <a:xfrm>
            <a:off x="665374" y="1391580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5" name="Shape 865"/>
          <p:cNvSpPr txBox="1">
            <a:spLocks noGrp="1"/>
          </p:cNvSpPr>
          <p:nvPr>
            <p:ph type="body" idx="7"/>
          </p:nvPr>
        </p:nvSpPr>
        <p:spPr>
          <a:xfrm>
            <a:off x="665374" y="1695409"/>
            <a:ext cx="10795108" cy="948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6" name="Shape 866"/>
          <p:cNvSpPr txBox="1">
            <a:spLocks noGrp="1"/>
          </p:cNvSpPr>
          <p:nvPr>
            <p:ph type="body" idx="8"/>
          </p:nvPr>
        </p:nvSpPr>
        <p:spPr>
          <a:xfrm>
            <a:off x="6204365" y="4963789"/>
            <a:ext cx="5268259" cy="1253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dice/Agenda">
  <p:cSld name="Indice/Agenda">
    <p:spTree>
      <p:nvGrpSpPr>
        <p:cNvPr id="1" name="Shape 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" name="Shape 868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9" name="Shape 869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0" name="Shape 870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71" name="Shape 871"/>
          <p:cNvSpPr txBox="1">
            <a:spLocks noGrp="1"/>
          </p:cNvSpPr>
          <p:nvPr>
            <p:ph type="body" idx="1"/>
          </p:nvPr>
        </p:nvSpPr>
        <p:spPr>
          <a:xfrm>
            <a:off x="2923423" y="1340771"/>
            <a:ext cx="7336063" cy="4971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50000"/>
              </a:lnSpc>
              <a:spcBef>
                <a:spcPts val="270"/>
              </a:spcBef>
              <a:spcAft>
                <a:spcPts val="0"/>
              </a:spcAft>
              <a:buClr>
                <a:schemeClr val="accent2"/>
              </a:buClr>
              <a:buSzPts val="945"/>
              <a:buFont typeface="Noto Sans Symbols"/>
              <a:buNone/>
              <a:defRPr sz="1350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2" name="Shape 872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73" name="Shape 8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4" name="Shape 874"/>
          <p:cNvSpPr txBox="1">
            <a:spLocks noGrp="1"/>
          </p:cNvSpPr>
          <p:nvPr>
            <p:ph type="body" idx="2"/>
          </p:nvPr>
        </p:nvSpPr>
        <p:spPr>
          <a:xfrm>
            <a:off x="631980" y="1256740"/>
            <a:ext cx="2269067" cy="1236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accent2"/>
              </a:buClr>
              <a:buSzPts val="1680"/>
              <a:buFont typeface="Noto Sans Symbols"/>
              <a:buNone/>
              <a:defRPr sz="24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ulo + Subtitulo">
  <p:cSld name="Titulo + Subtitulo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Shape 876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877" name="Shape 877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78" name="Shape 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9" name="Shape 879"/>
          <p:cNvSpPr txBox="1">
            <a:spLocks noGrp="1"/>
          </p:cNvSpPr>
          <p:nvPr>
            <p:ph type="title"/>
          </p:nvPr>
        </p:nvSpPr>
        <p:spPr>
          <a:xfrm>
            <a:off x="427570" y="301215"/>
            <a:ext cx="9923577" cy="105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0" name="Shape 880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1" name="Shape 881"/>
          <p:cNvSpPr txBox="1">
            <a:spLocks noGrp="1"/>
          </p:cNvSpPr>
          <p:nvPr>
            <p:ph type="ftr" idx="11"/>
          </p:nvPr>
        </p:nvSpPr>
        <p:spPr>
          <a:xfrm>
            <a:off x="2258484" y="6604622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2" name="Shape 882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83" name="Shape 883"/>
          <p:cNvSpPr txBox="1">
            <a:spLocks noGrp="1"/>
          </p:cNvSpPr>
          <p:nvPr>
            <p:ph type="body" idx="1"/>
          </p:nvPr>
        </p:nvSpPr>
        <p:spPr>
          <a:xfrm>
            <a:off x="427570" y="1484784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4" name="Shape 884"/>
          <p:cNvSpPr txBox="1">
            <a:spLocks noGrp="1"/>
          </p:cNvSpPr>
          <p:nvPr>
            <p:ph type="body" idx="2"/>
          </p:nvPr>
        </p:nvSpPr>
        <p:spPr>
          <a:xfrm>
            <a:off x="427569" y="793118"/>
            <a:ext cx="9923577" cy="57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rgbClr val="56648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sumen Mensajes/Preguntas">
  <p:cSld name="Resumen Mensajes/Preguntas">
    <p:spTree>
      <p:nvGrpSpPr>
        <p:cNvPr id="1" name="Shape 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" name="Shape 886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887" name="Shape 887"/>
          <p:cNvSpPr/>
          <p:nvPr/>
        </p:nvSpPr>
        <p:spPr>
          <a:xfrm>
            <a:off x="10351146" y="111125"/>
            <a:ext cx="1787068" cy="92233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88" name="Shape 8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889" name="Shape 889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0" name="Shape 890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1" name="Shape 891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92" name="Shape 892"/>
          <p:cNvSpPr/>
          <p:nvPr/>
        </p:nvSpPr>
        <p:spPr>
          <a:xfrm>
            <a:off x="827621" y="1741065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3" name="Shape 893"/>
          <p:cNvSpPr/>
          <p:nvPr/>
        </p:nvSpPr>
        <p:spPr>
          <a:xfrm>
            <a:off x="827621" y="2568872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4" name="Shape 894"/>
          <p:cNvSpPr/>
          <p:nvPr/>
        </p:nvSpPr>
        <p:spPr>
          <a:xfrm>
            <a:off x="827621" y="3396678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5" name="Shape 895"/>
          <p:cNvSpPr/>
          <p:nvPr/>
        </p:nvSpPr>
        <p:spPr>
          <a:xfrm>
            <a:off x="827621" y="4224484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" name="Shape 896"/>
          <p:cNvSpPr/>
          <p:nvPr/>
        </p:nvSpPr>
        <p:spPr>
          <a:xfrm>
            <a:off x="827621" y="5052291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7" name="Shape 897"/>
          <p:cNvSpPr txBox="1">
            <a:spLocks noGrp="1"/>
          </p:cNvSpPr>
          <p:nvPr>
            <p:ph type="body" idx="1"/>
          </p:nvPr>
        </p:nvSpPr>
        <p:spPr>
          <a:xfrm>
            <a:off x="827619" y="1741795"/>
            <a:ext cx="503767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8" name="Shape 898"/>
          <p:cNvSpPr txBox="1">
            <a:spLocks noGrp="1"/>
          </p:cNvSpPr>
          <p:nvPr>
            <p:ph type="body" idx="2"/>
          </p:nvPr>
        </p:nvSpPr>
        <p:spPr>
          <a:xfrm>
            <a:off x="827621" y="2581104"/>
            <a:ext cx="503767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9" name="Shape 899"/>
          <p:cNvSpPr txBox="1">
            <a:spLocks noGrp="1"/>
          </p:cNvSpPr>
          <p:nvPr>
            <p:ph type="body" idx="3"/>
          </p:nvPr>
        </p:nvSpPr>
        <p:spPr>
          <a:xfrm>
            <a:off x="827621" y="3400517"/>
            <a:ext cx="503767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0" name="Shape 900"/>
          <p:cNvSpPr txBox="1">
            <a:spLocks noGrp="1"/>
          </p:cNvSpPr>
          <p:nvPr>
            <p:ph type="body" idx="4"/>
          </p:nvPr>
        </p:nvSpPr>
        <p:spPr>
          <a:xfrm>
            <a:off x="827621" y="4230601"/>
            <a:ext cx="503767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1" name="Shape 901"/>
          <p:cNvSpPr txBox="1">
            <a:spLocks noGrp="1"/>
          </p:cNvSpPr>
          <p:nvPr>
            <p:ph type="body" idx="5"/>
          </p:nvPr>
        </p:nvSpPr>
        <p:spPr>
          <a:xfrm>
            <a:off x="827621" y="5064523"/>
            <a:ext cx="503767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2" name="Shape 902"/>
          <p:cNvSpPr txBox="1">
            <a:spLocks noGrp="1"/>
          </p:cNvSpPr>
          <p:nvPr>
            <p:ph type="title"/>
          </p:nvPr>
        </p:nvSpPr>
        <p:spPr>
          <a:xfrm>
            <a:off x="427570" y="301214"/>
            <a:ext cx="9923577" cy="105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3" name="Shape 903"/>
          <p:cNvSpPr txBox="1">
            <a:spLocks noGrp="1"/>
          </p:cNvSpPr>
          <p:nvPr>
            <p:ph type="body" idx="6"/>
          </p:nvPr>
        </p:nvSpPr>
        <p:spPr>
          <a:xfrm>
            <a:off x="1487484" y="1697315"/>
            <a:ext cx="8863661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SzPts val="788"/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4" name="Shape 904"/>
          <p:cNvSpPr txBox="1">
            <a:spLocks noGrp="1"/>
          </p:cNvSpPr>
          <p:nvPr>
            <p:ph type="body" idx="7"/>
          </p:nvPr>
        </p:nvSpPr>
        <p:spPr>
          <a:xfrm>
            <a:off x="1487488" y="2528020"/>
            <a:ext cx="8863661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SzPts val="788"/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5" name="Shape 905"/>
          <p:cNvSpPr txBox="1">
            <a:spLocks noGrp="1"/>
          </p:cNvSpPr>
          <p:nvPr>
            <p:ph type="body" idx="8"/>
          </p:nvPr>
        </p:nvSpPr>
        <p:spPr>
          <a:xfrm>
            <a:off x="1487484" y="3358725"/>
            <a:ext cx="8863661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SzPts val="788"/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6" name="Shape 906"/>
          <p:cNvSpPr txBox="1">
            <a:spLocks noGrp="1"/>
          </p:cNvSpPr>
          <p:nvPr>
            <p:ph type="body" idx="9"/>
          </p:nvPr>
        </p:nvSpPr>
        <p:spPr>
          <a:xfrm>
            <a:off x="1487488" y="4173888"/>
            <a:ext cx="8863661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SzPts val="788"/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7" name="Shape 907"/>
          <p:cNvSpPr txBox="1">
            <a:spLocks noGrp="1"/>
          </p:cNvSpPr>
          <p:nvPr>
            <p:ph type="body" idx="13"/>
          </p:nvPr>
        </p:nvSpPr>
        <p:spPr>
          <a:xfrm>
            <a:off x="1487484" y="5004593"/>
            <a:ext cx="8863661" cy="390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50000"/>
              </a:lnSpc>
              <a:spcBef>
                <a:spcPts val="225"/>
              </a:spcBef>
              <a:spcAft>
                <a:spcPts val="0"/>
              </a:spcAft>
              <a:buClr>
                <a:schemeClr val="accent2"/>
              </a:buClr>
              <a:buSzPts val="788"/>
              <a:buFont typeface="Noto Sans Symbols"/>
              <a:buNone/>
              <a:defRPr sz="1125" b="0" i="0" u="none" strike="noStrike" cap="none">
                <a:solidFill>
                  <a:srgbClr val="39435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ensajes/Preguntas">
  <p:cSld name="Mensajes/Preguntas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Shape 909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910" name="Shape 910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11" name="Shape 9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2" name="Shape 912"/>
          <p:cNvSpPr txBox="1">
            <a:spLocks noGrp="1"/>
          </p:cNvSpPr>
          <p:nvPr>
            <p:ph type="title"/>
          </p:nvPr>
        </p:nvSpPr>
        <p:spPr>
          <a:xfrm>
            <a:off x="1007437" y="301214"/>
            <a:ext cx="9343711" cy="105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13" name="Shape 913"/>
          <p:cNvSpPr txBox="1">
            <a:spLocks noGrp="1"/>
          </p:cNvSpPr>
          <p:nvPr>
            <p:ph type="body" idx="1"/>
          </p:nvPr>
        </p:nvSpPr>
        <p:spPr>
          <a:xfrm>
            <a:off x="427570" y="1484784"/>
            <a:ext cx="11374967" cy="4889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14" name="Shape 914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5" name="Shape 915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6" name="Shape 916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917" name="Shape 917"/>
          <p:cNvSpPr/>
          <p:nvPr/>
        </p:nvSpPr>
        <p:spPr>
          <a:xfrm>
            <a:off x="395002" y="374650"/>
            <a:ext cx="503767" cy="390054"/>
          </a:xfrm>
          <a:prstGeom prst="roundRect">
            <a:avLst>
              <a:gd name="adj" fmla="val 39561"/>
            </a:avLst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Shape 918"/>
          <p:cNvSpPr txBox="1">
            <a:spLocks noGrp="1"/>
          </p:cNvSpPr>
          <p:nvPr>
            <p:ph type="body" idx="2"/>
          </p:nvPr>
        </p:nvSpPr>
        <p:spPr>
          <a:xfrm>
            <a:off x="406642" y="386882"/>
            <a:ext cx="480484" cy="377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con Tag">
  <p:cSld name="Slide con Tag">
    <p:spTree>
      <p:nvGrpSpPr>
        <p:cNvPr id="1" name="Shape 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0" name="Shape 920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921" name="Shape 921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22" name="Shape 9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923" name="Shape 923"/>
          <p:cNvSpPr txBox="1">
            <a:spLocks noGrp="1"/>
          </p:cNvSpPr>
          <p:nvPr>
            <p:ph type="title"/>
          </p:nvPr>
        </p:nvSpPr>
        <p:spPr>
          <a:xfrm>
            <a:off x="815415" y="301214"/>
            <a:ext cx="9535732" cy="105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4" name="Shape 924"/>
          <p:cNvSpPr txBox="1">
            <a:spLocks noGrp="1"/>
          </p:cNvSpPr>
          <p:nvPr>
            <p:ph type="body" idx="1"/>
          </p:nvPr>
        </p:nvSpPr>
        <p:spPr>
          <a:xfrm>
            <a:off x="815415" y="1484784"/>
            <a:ext cx="10987121" cy="4889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272A66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25" name="Shape 925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26" name="Shape 926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27" name="Shape 927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928" name="Shape 928"/>
          <p:cNvSpPr txBox="1">
            <a:spLocks noGrp="1"/>
          </p:cNvSpPr>
          <p:nvPr>
            <p:ph type="body" idx="2"/>
          </p:nvPr>
        </p:nvSpPr>
        <p:spPr>
          <a:xfrm>
            <a:off x="171080" y="111125"/>
            <a:ext cx="442003" cy="63864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ctr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None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scripcion Piloto">
  <p:cSld name="Descripcion Piloto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" name="Shape 930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931" name="Shape 931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2" name="Shape 9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933" name="Shape 933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4" name="Shape 934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5" name="Shape 935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cxnSp>
        <p:nvCxnSpPr>
          <p:cNvPr id="936" name="Shape 936"/>
          <p:cNvCxnSpPr/>
          <p:nvPr/>
        </p:nvCxnSpPr>
        <p:spPr>
          <a:xfrm>
            <a:off x="733503" y="1773660"/>
            <a:ext cx="0" cy="4496513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7" name="Shape 937"/>
          <p:cNvCxnSpPr/>
          <p:nvPr/>
        </p:nvCxnSpPr>
        <p:spPr>
          <a:xfrm>
            <a:off x="732711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8" name="Shape 938"/>
          <p:cNvCxnSpPr/>
          <p:nvPr/>
        </p:nvCxnSpPr>
        <p:spPr>
          <a:xfrm>
            <a:off x="1152168" y="3200113"/>
            <a:ext cx="652872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939" name="Shape 939"/>
          <p:cNvCxnSpPr/>
          <p:nvPr/>
        </p:nvCxnSpPr>
        <p:spPr>
          <a:xfrm>
            <a:off x="1152168" y="4705876"/>
            <a:ext cx="652872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940" name="Shape 940"/>
          <p:cNvGrpSpPr/>
          <p:nvPr/>
        </p:nvGrpSpPr>
        <p:grpSpPr>
          <a:xfrm>
            <a:off x="624049" y="1893130"/>
            <a:ext cx="2640000" cy="1080000"/>
            <a:chOff x="1462955" y="2195784"/>
            <a:chExt cx="1656185" cy="1544314"/>
          </a:xfrm>
        </p:grpSpPr>
        <p:grpSp>
          <p:nvGrpSpPr>
            <p:cNvPr id="941" name="Shape 94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</p:grpSpPr>
          <p:sp>
            <p:nvSpPr>
              <p:cNvPr id="942" name="Shape 942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3" name="Shape 943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44" name="Shape 944"/>
            <p:cNvSpPr txBox="1"/>
            <p:nvPr/>
          </p:nvSpPr>
          <p:spPr>
            <a:xfrm>
              <a:off x="1482349" y="2680900"/>
              <a:ext cx="1554272" cy="3630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s-PE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Qué se va a responder? 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45" name="Shape 945"/>
          <p:cNvGrpSpPr/>
          <p:nvPr/>
        </p:nvGrpSpPr>
        <p:grpSpPr>
          <a:xfrm>
            <a:off x="624049" y="3362784"/>
            <a:ext cx="2640000" cy="1080000"/>
            <a:chOff x="1462955" y="2119343"/>
            <a:chExt cx="1656185" cy="1473512"/>
          </a:xfrm>
        </p:grpSpPr>
        <p:grpSp>
          <p:nvGrpSpPr>
            <p:cNvPr id="946" name="Shape 946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</p:grpSpPr>
          <p:sp>
            <p:nvSpPr>
              <p:cNvPr id="947" name="Shape 947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8" name="Shape 948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49" name="Shape 949"/>
            <p:cNvSpPr txBox="1"/>
            <p:nvPr/>
          </p:nvSpPr>
          <p:spPr>
            <a:xfrm>
              <a:off x="1483895" y="2561930"/>
              <a:ext cx="1554272" cy="3464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s-PE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Cómo lo responderemos?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50" name="Shape 950"/>
          <p:cNvGrpSpPr/>
          <p:nvPr/>
        </p:nvGrpSpPr>
        <p:grpSpPr>
          <a:xfrm>
            <a:off x="621023" y="4839939"/>
            <a:ext cx="2640000" cy="1080000"/>
            <a:chOff x="1462955" y="2117750"/>
            <a:chExt cx="1656185" cy="1395618"/>
          </a:xfrm>
        </p:grpSpPr>
        <p:grpSp>
          <p:nvGrpSpPr>
            <p:cNvPr id="951" name="Shape 951"/>
            <p:cNvGrpSpPr/>
            <p:nvPr/>
          </p:nvGrpSpPr>
          <p:grpSpPr>
            <a:xfrm>
              <a:off x="1462955" y="2117750"/>
              <a:ext cx="1656185" cy="1395618"/>
              <a:chOff x="1763686" y="1938853"/>
              <a:chExt cx="2079181" cy="1705755"/>
            </a:xfrm>
          </p:grpSpPr>
          <p:sp>
            <p:nvSpPr>
              <p:cNvPr id="952" name="Shape 952"/>
              <p:cNvSpPr/>
              <p:nvPr/>
            </p:nvSpPr>
            <p:spPr>
              <a:xfrm>
                <a:off x="1763686" y="1938853"/>
                <a:ext cx="2079181" cy="170575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BFB7E3"/>
              </a:solidFill>
              <a:ln w="9525" cap="flat" cmpd="sng">
                <a:solidFill>
                  <a:srgbClr val="9289C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3" name="Shape 953"/>
              <p:cNvSpPr/>
              <p:nvPr/>
            </p:nvSpPr>
            <p:spPr>
              <a:xfrm>
                <a:off x="1776768" y="3478883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BFB7E3"/>
              </a:solidFill>
              <a:ln w="9525" cap="flat" cmpd="sng">
                <a:solidFill>
                  <a:srgbClr val="9289C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endParaRPr sz="12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54" name="Shape 954"/>
            <p:cNvSpPr txBox="1"/>
            <p:nvPr/>
          </p:nvSpPr>
          <p:spPr>
            <a:xfrm>
              <a:off x="1483896" y="2444126"/>
              <a:ext cx="1554272" cy="5369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s-PE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Qué mejoras se han incorporado?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55" name="Shape 955"/>
          <p:cNvGrpSpPr/>
          <p:nvPr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956" name="Shape 956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" name="Shape 957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8" name="Shape 958"/>
          <p:cNvSpPr txBox="1">
            <a:spLocks noGrp="1"/>
          </p:cNvSpPr>
          <p:nvPr>
            <p:ph type="body" idx="1"/>
          </p:nvPr>
        </p:nvSpPr>
        <p:spPr>
          <a:xfrm>
            <a:off x="3554045" y="1875513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68605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9" name="Shape 959"/>
          <p:cNvSpPr txBox="1">
            <a:spLocks noGrp="1"/>
          </p:cNvSpPr>
          <p:nvPr>
            <p:ph type="body" idx="2"/>
          </p:nvPr>
        </p:nvSpPr>
        <p:spPr>
          <a:xfrm>
            <a:off x="3563948" y="3381275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68605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0" name="Shape 960"/>
          <p:cNvSpPr txBox="1">
            <a:spLocks noGrp="1"/>
          </p:cNvSpPr>
          <p:nvPr>
            <p:ph type="body" idx="3"/>
          </p:nvPr>
        </p:nvSpPr>
        <p:spPr>
          <a:xfrm>
            <a:off x="3554045" y="4859858"/>
            <a:ext cx="4237280" cy="11684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1" name="Shape 961"/>
          <p:cNvSpPr txBox="1">
            <a:spLocks noGrp="1"/>
          </p:cNvSpPr>
          <p:nvPr>
            <p:ph type="body" idx="4"/>
          </p:nvPr>
        </p:nvSpPr>
        <p:spPr>
          <a:xfrm>
            <a:off x="1254863" y="1254066"/>
            <a:ext cx="6651772" cy="35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2" name="Shape 962"/>
          <p:cNvSpPr/>
          <p:nvPr/>
        </p:nvSpPr>
        <p:spPr>
          <a:xfrm>
            <a:off x="8236135" y="1254066"/>
            <a:ext cx="3298284" cy="3600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3" name="Shape 963"/>
          <p:cNvSpPr txBox="1">
            <a:spLocks noGrp="1"/>
          </p:cNvSpPr>
          <p:nvPr>
            <p:ph type="body" idx="5"/>
          </p:nvPr>
        </p:nvSpPr>
        <p:spPr>
          <a:xfrm>
            <a:off x="8280461" y="1808747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4" name="Shape 964"/>
          <p:cNvSpPr txBox="1">
            <a:spLocks noGrp="1"/>
          </p:cNvSpPr>
          <p:nvPr>
            <p:ph type="body" idx="6"/>
          </p:nvPr>
        </p:nvSpPr>
        <p:spPr>
          <a:xfrm>
            <a:off x="8261535" y="3949468"/>
            <a:ext cx="3272884" cy="271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5" name="Shape 965"/>
          <p:cNvSpPr txBox="1">
            <a:spLocks noGrp="1"/>
          </p:cNvSpPr>
          <p:nvPr>
            <p:ph type="body" idx="7"/>
          </p:nvPr>
        </p:nvSpPr>
        <p:spPr>
          <a:xfrm>
            <a:off x="8285648" y="2167274"/>
            <a:ext cx="3248768" cy="1718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6" name="Shape 966"/>
          <p:cNvSpPr>
            <a:spLocks noGrp="1"/>
          </p:cNvSpPr>
          <p:nvPr>
            <p:ph type="pic" idx="8"/>
          </p:nvPr>
        </p:nvSpPr>
        <p:spPr>
          <a:xfrm>
            <a:off x="732367" y="1284290"/>
            <a:ext cx="419100" cy="307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>
                <a:schemeClr val="accent2"/>
              </a:buClr>
              <a:buSzPts val="315"/>
              <a:buFont typeface="Noto Sans Symbols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7" name="Shape 967"/>
          <p:cNvSpPr txBox="1">
            <a:spLocks noGrp="1"/>
          </p:cNvSpPr>
          <p:nvPr>
            <p:ph type="title"/>
          </p:nvPr>
        </p:nvSpPr>
        <p:spPr>
          <a:xfrm>
            <a:off x="427570" y="301215"/>
            <a:ext cx="9923577" cy="857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8" name="Shape 968"/>
          <p:cNvSpPr txBox="1">
            <a:spLocks noGrp="1"/>
          </p:cNvSpPr>
          <p:nvPr>
            <p:ph type="body" idx="9"/>
          </p:nvPr>
        </p:nvSpPr>
        <p:spPr>
          <a:xfrm>
            <a:off x="8285649" y="4293096"/>
            <a:ext cx="3248768" cy="1751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9" name="Shape 969"/>
          <p:cNvSpPr txBox="1">
            <a:spLocks noGrp="1"/>
          </p:cNvSpPr>
          <p:nvPr>
            <p:ph type="body" idx="13"/>
          </p:nvPr>
        </p:nvSpPr>
        <p:spPr>
          <a:xfrm>
            <a:off x="8220855" y="1254066"/>
            <a:ext cx="3298284" cy="35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scripcion Piloto 2">
  <p:cSld name="Descripcion Piloto 2"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Shape 971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972" name="Shape 972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73" name="Shape 9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974" name="Shape 974"/>
          <p:cNvSpPr txBox="1">
            <a:spLocks noGrp="1"/>
          </p:cNvSpPr>
          <p:nvPr>
            <p:ph type="title"/>
          </p:nvPr>
        </p:nvSpPr>
        <p:spPr>
          <a:xfrm>
            <a:off x="427570" y="301215"/>
            <a:ext cx="9923577" cy="857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5" name="Shape 975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6" name="Shape 976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7" name="Shape 977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cxnSp>
        <p:nvCxnSpPr>
          <p:cNvPr id="978" name="Shape 978"/>
          <p:cNvCxnSpPr/>
          <p:nvPr/>
        </p:nvCxnSpPr>
        <p:spPr>
          <a:xfrm>
            <a:off x="733503" y="1773660"/>
            <a:ext cx="0" cy="4496513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79" name="Shape 979"/>
          <p:cNvCxnSpPr/>
          <p:nvPr/>
        </p:nvCxnSpPr>
        <p:spPr>
          <a:xfrm>
            <a:off x="732711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80" name="Shape 980"/>
          <p:cNvCxnSpPr/>
          <p:nvPr/>
        </p:nvCxnSpPr>
        <p:spPr>
          <a:xfrm>
            <a:off x="1152168" y="3936919"/>
            <a:ext cx="652872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981" name="Shape 981"/>
          <p:cNvCxnSpPr/>
          <p:nvPr/>
        </p:nvCxnSpPr>
        <p:spPr>
          <a:xfrm>
            <a:off x="1160116" y="6136776"/>
            <a:ext cx="6528725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982" name="Shape 982"/>
          <p:cNvGrpSpPr/>
          <p:nvPr/>
        </p:nvGrpSpPr>
        <p:grpSpPr>
          <a:xfrm>
            <a:off x="624053" y="2020130"/>
            <a:ext cx="2508463" cy="1350644"/>
            <a:chOff x="1462955" y="2195784"/>
            <a:chExt cx="1656185" cy="1544314"/>
          </a:xfrm>
        </p:grpSpPr>
        <p:grpSp>
          <p:nvGrpSpPr>
            <p:cNvPr id="983" name="Shape 983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</p:grpSpPr>
          <p:sp>
            <p:nvSpPr>
              <p:cNvPr id="984" name="Shape 984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5" name="Shape 985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86" name="Shape 986"/>
            <p:cNvSpPr txBox="1"/>
            <p:nvPr/>
          </p:nvSpPr>
          <p:spPr>
            <a:xfrm>
              <a:off x="1482349" y="2717278"/>
              <a:ext cx="1554272" cy="2903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s-PE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Qué se va a responder? 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87" name="Shape 987"/>
          <p:cNvGrpSpPr/>
          <p:nvPr/>
        </p:nvGrpSpPr>
        <p:grpSpPr>
          <a:xfrm>
            <a:off x="624053" y="4251784"/>
            <a:ext cx="2510927" cy="1350000"/>
            <a:chOff x="1462955" y="2119343"/>
            <a:chExt cx="1656185" cy="1473512"/>
          </a:xfrm>
        </p:grpSpPr>
        <p:grpSp>
          <p:nvGrpSpPr>
            <p:cNvPr id="988" name="Shape 988"/>
            <p:cNvGrpSpPr/>
            <p:nvPr/>
          </p:nvGrpSpPr>
          <p:grpSpPr>
            <a:xfrm>
              <a:off x="1462955" y="2119343"/>
              <a:ext cx="1656185" cy="1473512"/>
              <a:chOff x="1763686" y="1940801"/>
              <a:chExt cx="2079181" cy="1800959"/>
            </a:xfrm>
          </p:grpSpPr>
          <p:sp>
            <p:nvSpPr>
              <p:cNvPr id="989" name="Shape 989"/>
              <p:cNvSpPr/>
              <p:nvPr/>
            </p:nvSpPr>
            <p:spPr>
              <a:xfrm>
                <a:off x="1763686" y="1940801"/>
                <a:ext cx="2079181" cy="180095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0" name="Shape 990"/>
              <p:cNvSpPr/>
              <p:nvPr/>
            </p:nvSpPr>
            <p:spPr>
              <a:xfrm>
                <a:off x="1774031" y="3565396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CED0EA"/>
              </a:solidFill>
              <a:ln w="9525" cap="flat" cmpd="sng">
                <a:solidFill>
                  <a:srgbClr val="9C9FD9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991" name="Shape 991"/>
            <p:cNvSpPr txBox="1"/>
            <p:nvPr/>
          </p:nvSpPr>
          <p:spPr>
            <a:xfrm>
              <a:off x="1483895" y="2596574"/>
              <a:ext cx="1554272" cy="2771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r>
                <a:rPr lang="es-PE" sz="1050" b="1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rPr>
                <a:t>¿Cómo lo responderemos?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92" name="Shape 992"/>
          <p:cNvGrpSpPr/>
          <p:nvPr/>
        </p:nvGrpSpPr>
        <p:grpSpPr>
          <a:xfrm>
            <a:off x="1152167" y="1257501"/>
            <a:ext cx="6754468" cy="360000"/>
            <a:chOff x="991125" y="1257501"/>
            <a:chExt cx="5065851" cy="360000"/>
          </a:xfrm>
        </p:grpSpPr>
        <p:sp>
          <p:nvSpPr>
            <p:cNvPr id="993" name="Shape 993"/>
            <p:cNvSpPr/>
            <p:nvPr/>
          </p:nvSpPr>
          <p:spPr>
            <a:xfrm flipH="1">
              <a:off x="991125" y="1257501"/>
              <a:ext cx="442510" cy="360000"/>
            </a:xfrm>
            <a:prstGeom prst="flowChartOnlineStorage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Shape 994"/>
            <p:cNvSpPr/>
            <p:nvPr/>
          </p:nvSpPr>
          <p:spPr>
            <a:xfrm>
              <a:off x="1238250" y="1257501"/>
              <a:ext cx="4818726" cy="360000"/>
            </a:xfrm>
            <a:prstGeom prst="rect">
              <a:avLst/>
            </a:pr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5" name="Shape 995"/>
          <p:cNvSpPr txBox="1">
            <a:spLocks noGrp="1"/>
          </p:cNvSpPr>
          <p:nvPr>
            <p:ph type="body" idx="1"/>
          </p:nvPr>
        </p:nvSpPr>
        <p:spPr>
          <a:xfrm>
            <a:off x="3554045" y="2002513"/>
            <a:ext cx="4237280" cy="1652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68605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6" name="Shape 996"/>
          <p:cNvSpPr txBox="1">
            <a:spLocks noGrp="1"/>
          </p:cNvSpPr>
          <p:nvPr>
            <p:ph type="body" idx="2"/>
          </p:nvPr>
        </p:nvSpPr>
        <p:spPr>
          <a:xfrm>
            <a:off x="3563948" y="4270275"/>
            <a:ext cx="4237280" cy="16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68605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7" name="Shape 997"/>
          <p:cNvSpPr txBox="1">
            <a:spLocks noGrp="1"/>
          </p:cNvSpPr>
          <p:nvPr>
            <p:ph type="body" idx="3"/>
          </p:nvPr>
        </p:nvSpPr>
        <p:spPr>
          <a:xfrm>
            <a:off x="1254863" y="1254066"/>
            <a:ext cx="6651772" cy="35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8" name="Shape 998"/>
          <p:cNvSpPr/>
          <p:nvPr/>
        </p:nvSpPr>
        <p:spPr>
          <a:xfrm>
            <a:off x="8236135" y="1254066"/>
            <a:ext cx="3298284" cy="3600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" name="Shape 999"/>
          <p:cNvSpPr txBox="1">
            <a:spLocks noGrp="1"/>
          </p:cNvSpPr>
          <p:nvPr>
            <p:ph type="body" idx="4"/>
          </p:nvPr>
        </p:nvSpPr>
        <p:spPr>
          <a:xfrm>
            <a:off x="8280461" y="1808747"/>
            <a:ext cx="3253959" cy="2842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0" name="Shape 1000"/>
          <p:cNvSpPr txBox="1">
            <a:spLocks noGrp="1"/>
          </p:cNvSpPr>
          <p:nvPr>
            <p:ph type="body" idx="5"/>
          </p:nvPr>
        </p:nvSpPr>
        <p:spPr>
          <a:xfrm>
            <a:off x="8261535" y="3949468"/>
            <a:ext cx="3272884" cy="271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1" name="Shape 1001"/>
          <p:cNvSpPr txBox="1">
            <a:spLocks noGrp="1"/>
          </p:cNvSpPr>
          <p:nvPr>
            <p:ph type="body" idx="6"/>
          </p:nvPr>
        </p:nvSpPr>
        <p:spPr>
          <a:xfrm>
            <a:off x="8285648" y="2167274"/>
            <a:ext cx="3248768" cy="1718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2" name="Shape 1002"/>
          <p:cNvSpPr txBox="1">
            <a:spLocks noGrp="1"/>
          </p:cNvSpPr>
          <p:nvPr>
            <p:ph type="body" idx="7"/>
          </p:nvPr>
        </p:nvSpPr>
        <p:spPr>
          <a:xfrm>
            <a:off x="8285649" y="4293096"/>
            <a:ext cx="3248768" cy="1751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accent2"/>
              </a:buClr>
              <a:buSzPts val="630"/>
              <a:buFont typeface="Noto Sans Symbols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3" name="Shape 1003"/>
          <p:cNvSpPr>
            <a:spLocks noGrp="1"/>
          </p:cNvSpPr>
          <p:nvPr>
            <p:ph type="pic" idx="8"/>
          </p:nvPr>
        </p:nvSpPr>
        <p:spPr>
          <a:xfrm>
            <a:off x="732367" y="1284290"/>
            <a:ext cx="419100" cy="307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>
                <a:schemeClr val="accent2"/>
              </a:buClr>
              <a:buSzPts val="315"/>
              <a:buFont typeface="Noto Sans Symbols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4" name="Shape 1004"/>
          <p:cNvSpPr txBox="1">
            <a:spLocks noGrp="1"/>
          </p:cNvSpPr>
          <p:nvPr>
            <p:ph type="body" idx="9"/>
          </p:nvPr>
        </p:nvSpPr>
        <p:spPr>
          <a:xfrm>
            <a:off x="8220855" y="1254066"/>
            <a:ext cx="3298284" cy="3571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ctica 1">
  <p:cSld name="Tactica 1">
    <p:spTree>
      <p:nvGrpSpPr>
        <p:cNvPr id="1" name="Shape 1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" name="Shape 1006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1007" name="Shape 1007"/>
          <p:cNvSpPr/>
          <p:nvPr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rgbClr val="595959"/>
          </a:solidFill>
          <a:ln w="9525" cap="flat" cmpd="sng">
            <a:solidFill>
              <a:srgbClr val="5959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8" name="Shape 1008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09" name="Shape 10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" name="Shape 1010"/>
          <p:cNvSpPr txBox="1">
            <a:spLocks noGrp="1"/>
          </p:cNvSpPr>
          <p:nvPr>
            <p:ph type="title"/>
          </p:nvPr>
        </p:nvSpPr>
        <p:spPr>
          <a:xfrm>
            <a:off x="427570" y="297513"/>
            <a:ext cx="9923577" cy="861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1" name="Shape 1011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2" name="Shape 1012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3" name="Shape 1013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cxnSp>
        <p:nvCxnSpPr>
          <p:cNvPr id="1014" name="Shape 1014"/>
          <p:cNvCxnSpPr/>
          <p:nvPr/>
        </p:nvCxnSpPr>
        <p:spPr>
          <a:xfrm>
            <a:off x="740569" y="1773658"/>
            <a:ext cx="0" cy="422074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15" name="Shape 1015"/>
          <p:cNvCxnSpPr/>
          <p:nvPr/>
        </p:nvCxnSpPr>
        <p:spPr>
          <a:xfrm>
            <a:off x="732711" y="1773658"/>
            <a:ext cx="7173927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6" name="Shape 1016"/>
          <p:cNvSpPr txBox="1">
            <a:spLocks noGrp="1"/>
          </p:cNvSpPr>
          <p:nvPr>
            <p:ph type="body" idx="1"/>
          </p:nvPr>
        </p:nvSpPr>
        <p:spPr>
          <a:xfrm>
            <a:off x="3226967" y="1777361"/>
            <a:ext cx="3792000" cy="408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7" name="Shape 1017"/>
          <p:cNvSpPr txBox="1">
            <a:spLocks noGrp="1"/>
          </p:cNvSpPr>
          <p:nvPr>
            <p:ph type="body" idx="2"/>
          </p:nvPr>
        </p:nvSpPr>
        <p:spPr>
          <a:xfrm>
            <a:off x="7334955" y="1777361"/>
            <a:ext cx="3792000" cy="408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8" name="Shape 1018"/>
          <p:cNvSpPr>
            <a:spLocks noGrp="1"/>
          </p:cNvSpPr>
          <p:nvPr>
            <p:ph type="pic" idx="3"/>
          </p:nvPr>
        </p:nvSpPr>
        <p:spPr>
          <a:xfrm>
            <a:off x="3227916" y="2387600"/>
            <a:ext cx="3792000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9" name="Shape 1019"/>
          <p:cNvSpPr>
            <a:spLocks noGrp="1"/>
          </p:cNvSpPr>
          <p:nvPr>
            <p:ph type="pic" idx="4"/>
          </p:nvPr>
        </p:nvSpPr>
        <p:spPr>
          <a:xfrm>
            <a:off x="7327349" y="2387600"/>
            <a:ext cx="3792000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1020" name="Shape 1020"/>
          <p:cNvGrpSpPr/>
          <p:nvPr/>
        </p:nvGrpSpPr>
        <p:grpSpPr>
          <a:xfrm>
            <a:off x="645219" y="1811353"/>
            <a:ext cx="2271551" cy="1071664"/>
            <a:chOff x="1462955" y="2195784"/>
            <a:chExt cx="1656185" cy="1544314"/>
          </a:xfrm>
        </p:grpSpPr>
        <p:grpSp>
          <p:nvGrpSpPr>
            <p:cNvPr id="1021" name="Shape 1021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</p:grpSpPr>
          <p:sp>
            <p:nvSpPr>
              <p:cNvPr id="1022" name="Shape 1022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3" name="Shape 1023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24" name="Shape 1024"/>
            <p:cNvSpPr txBox="1"/>
            <p:nvPr/>
          </p:nvSpPr>
          <p:spPr>
            <a:xfrm>
              <a:off x="1482349" y="2679489"/>
              <a:ext cx="1554272" cy="36590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5" name="Shape 1025"/>
          <p:cNvSpPr txBox="1">
            <a:spLocks noGrp="1"/>
          </p:cNvSpPr>
          <p:nvPr>
            <p:ph type="body" idx="5"/>
          </p:nvPr>
        </p:nvSpPr>
        <p:spPr>
          <a:xfrm>
            <a:off x="842957" y="1934676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ctica 2">
  <p:cSld name="Tactica 2">
    <p:spTree>
      <p:nvGrpSpPr>
        <p:cNvPr id="1" name="Shape 10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Shape 1027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1028" name="Shape 1028"/>
          <p:cNvSpPr/>
          <p:nvPr/>
        </p:nvSpPr>
        <p:spPr>
          <a:xfrm>
            <a:off x="753201" y="1574800"/>
            <a:ext cx="10659867" cy="4419600"/>
          </a:xfrm>
          <a:prstGeom prst="rect">
            <a:avLst/>
          </a:prstGeom>
          <a:solidFill>
            <a:srgbClr val="595959"/>
          </a:solidFill>
          <a:ln w="9525" cap="flat" cmpd="sng">
            <a:solidFill>
              <a:srgbClr val="5959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9" name="Shape 1029"/>
          <p:cNvSpPr/>
          <p:nvPr/>
        </p:nvSpPr>
        <p:spPr>
          <a:xfrm>
            <a:off x="10351145" y="111125"/>
            <a:ext cx="1579456" cy="7556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30" name="Shape 10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74479" y="347663"/>
            <a:ext cx="1066800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" name="Shape 1031"/>
          <p:cNvSpPr txBox="1">
            <a:spLocks noGrp="1"/>
          </p:cNvSpPr>
          <p:nvPr>
            <p:ph type="title"/>
          </p:nvPr>
        </p:nvSpPr>
        <p:spPr>
          <a:xfrm>
            <a:off x="427570" y="301215"/>
            <a:ext cx="9923577" cy="8576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2" name="Shape 1032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3" name="Shape 1033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34" name="Shape 1034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cxnSp>
        <p:nvCxnSpPr>
          <p:cNvPr id="1035" name="Shape 1035"/>
          <p:cNvCxnSpPr/>
          <p:nvPr/>
        </p:nvCxnSpPr>
        <p:spPr>
          <a:xfrm>
            <a:off x="741969" y="1571625"/>
            <a:ext cx="0" cy="422074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6" name="Shape 1036"/>
          <p:cNvGrpSpPr/>
          <p:nvPr/>
        </p:nvGrpSpPr>
        <p:grpSpPr>
          <a:xfrm>
            <a:off x="645219" y="1814528"/>
            <a:ext cx="2271551" cy="1071664"/>
            <a:chOff x="1462955" y="2195784"/>
            <a:chExt cx="1656185" cy="1544314"/>
          </a:xfrm>
        </p:grpSpPr>
        <p:grpSp>
          <p:nvGrpSpPr>
            <p:cNvPr id="1037" name="Shape 1037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</p:grpSpPr>
          <p:sp>
            <p:nvSpPr>
              <p:cNvPr id="1038" name="Shape 1038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" name="Shape 1039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40" name="Shape 1040"/>
            <p:cNvSpPr txBox="1"/>
            <p:nvPr/>
          </p:nvSpPr>
          <p:spPr>
            <a:xfrm>
              <a:off x="1482349" y="2679489"/>
              <a:ext cx="1554272" cy="36590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1" name="Shape 1041"/>
          <p:cNvSpPr txBox="1">
            <a:spLocks noGrp="1"/>
          </p:cNvSpPr>
          <p:nvPr>
            <p:ph type="body" idx="1"/>
          </p:nvPr>
        </p:nvSpPr>
        <p:spPr>
          <a:xfrm>
            <a:off x="842957" y="1934676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2" name="Shape 1042"/>
          <p:cNvSpPr txBox="1">
            <a:spLocks noGrp="1"/>
          </p:cNvSpPr>
          <p:nvPr>
            <p:ph type="body" idx="2"/>
          </p:nvPr>
        </p:nvSpPr>
        <p:spPr>
          <a:xfrm>
            <a:off x="3159233" y="1680767"/>
            <a:ext cx="3801600" cy="318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3" name="Shape 1043"/>
          <p:cNvSpPr txBox="1">
            <a:spLocks noGrp="1"/>
          </p:cNvSpPr>
          <p:nvPr>
            <p:ph type="body" idx="3"/>
          </p:nvPr>
        </p:nvSpPr>
        <p:spPr>
          <a:xfrm>
            <a:off x="7281338" y="1680767"/>
            <a:ext cx="3802663" cy="318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1044" name="Shape 1044"/>
          <p:cNvGrpSpPr/>
          <p:nvPr/>
        </p:nvGrpSpPr>
        <p:grpSpPr>
          <a:xfrm>
            <a:off x="645219" y="4097236"/>
            <a:ext cx="2271551" cy="1071664"/>
            <a:chOff x="1462955" y="2195784"/>
            <a:chExt cx="1656185" cy="1544314"/>
          </a:xfrm>
        </p:grpSpPr>
        <p:grpSp>
          <p:nvGrpSpPr>
            <p:cNvPr id="1045" name="Shape 1045"/>
            <p:cNvGrpSpPr/>
            <p:nvPr/>
          </p:nvGrpSpPr>
          <p:grpSpPr>
            <a:xfrm>
              <a:off x="1462955" y="2195784"/>
              <a:ext cx="1656185" cy="1544314"/>
              <a:chOff x="1763686" y="2034228"/>
              <a:chExt cx="2079181" cy="1887494"/>
            </a:xfrm>
          </p:grpSpPr>
          <p:sp>
            <p:nvSpPr>
              <p:cNvPr id="1046" name="Shape 1046"/>
              <p:cNvSpPr/>
              <p:nvPr/>
            </p:nvSpPr>
            <p:spPr>
              <a:xfrm>
                <a:off x="1763686" y="2034228"/>
                <a:ext cx="2079181" cy="1887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8013"/>
                    </a:moveTo>
                    <a:cubicBezTo>
                      <a:pt x="0" y="8065"/>
                      <a:pt x="6204" y="0"/>
                      <a:pt x="13857" y="0"/>
                    </a:cubicBezTo>
                    <a:lnTo>
                      <a:pt x="98628" y="0"/>
                    </a:lnTo>
                    <a:cubicBezTo>
                      <a:pt x="106281" y="0"/>
                      <a:pt x="112485" y="8065"/>
                      <a:pt x="112485" y="18013"/>
                    </a:cubicBezTo>
                    <a:cubicBezTo>
                      <a:pt x="112545" y="24890"/>
                      <a:pt x="112573" y="29441"/>
                      <a:pt x="112633" y="36318"/>
                    </a:cubicBezTo>
                    <a:lnTo>
                      <a:pt x="119999" y="56027"/>
                    </a:lnTo>
                    <a:lnTo>
                      <a:pt x="112460" y="72736"/>
                    </a:lnTo>
                    <a:cubicBezTo>
                      <a:pt x="112536" y="80695"/>
                      <a:pt x="112409" y="82108"/>
                      <a:pt x="112485" y="90067"/>
                    </a:cubicBezTo>
                    <a:cubicBezTo>
                      <a:pt x="112485" y="100015"/>
                      <a:pt x="106281" y="108081"/>
                      <a:pt x="98628" y="108081"/>
                    </a:cubicBezTo>
                    <a:lnTo>
                      <a:pt x="16283" y="108081"/>
                    </a:lnTo>
                    <a:cubicBezTo>
                      <a:pt x="906" y="108452"/>
                      <a:pt x="8052" y="108193"/>
                      <a:pt x="6094" y="108506"/>
                    </a:cubicBezTo>
                    <a:cubicBezTo>
                      <a:pt x="3723" y="109000"/>
                      <a:pt x="5514" y="118906"/>
                      <a:pt x="4534" y="119700"/>
                    </a:cubicBezTo>
                    <a:cubicBezTo>
                      <a:pt x="1902" y="120866"/>
                      <a:pt x="747" y="118485"/>
                      <a:pt x="491" y="115075"/>
                    </a:cubicBezTo>
                    <a:cubicBezTo>
                      <a:pt x="248" y="112832"/>
                      <a:pt x="249" y="111674"/>
                      <a:pt x="167" y="107506"/>
                    </a:cubicBezTo>
                    <a:cubicBezTo>
                      <a:pt x="112" y="103198"/>
                      <a:pt x="243" y="105052"/>
                      <a:pt x="0" y="90067"/>
                    </a:cubicBezTo>
                    <a:lnTo>
                      <a:pt x="0" y="18013"/>
                    </a:lnTo>
                    <a:close/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7" name="Shape 1047"/>
              <p:cNvSpPr/>
              <p:nvPr/>
            </p:nvSpPr>
            <p:spPr>
              <a:xfrm>
                <a:off x="1770151" y="3742581"/>
                <a:ext cx="95250" cy="9048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0"/>
                    </a:moveTo>
                    <a:cubicBezTo>
                      <a:pt x="91749" y="5263"/>
                      <a:pt x="63499" y="10526"/>
                      <a:pt x="45000" y="22105"/>
                    </a:cubicBezTo>
                    <a:cubicBezTo>
                      <a:pt x="26500" y="33684"/>
                      <a:pt x="16500" y="53158"/>
                      <a:pt x="9000" y="69473"/>
                    </a:cubicBezTo>
                    <a:cubicBezTo>
                      <a:pt x="1500" y="85789"/>
                      <a:pt x="0" y="120000"/>
                      <a:pt x="0" y="120000"/>
                    </a:cubicBezTo>
                  </a:path>
                </a:pathLst>
              </a:custGeom>
              <a:solidFill>
                <a:srgbClr val="E8E9F4"/>
              </a:solidFill>
              <a:ln w="9525" cap="flat" cmpd="sng">
                <a:solidFill>
                  <a:srgbClr val="BCBEE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050"/>
                  <a:buFont typeface="Arial"/>
                  <a:buNone/>
                </a:pPr>
                <a:endParaRPr sz="1050" b="0" i="0" u="none" strike="noStrike" cap="none">
                  <a:solidFill>
                    <a:srgbClr val="3F3F3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48" name="Shape 1048"/>
            <p:cNvSpPr txBox="1"/>
            <p:nvPr/>
          </p:nvSpPr>
          <p:spPr>
            <a:xfrm>
              <a:off x="1482349" y="2679489"/>
              <a:ext cx="1554272" cy="36590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63102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endParaRPr sz="105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9" name="Shape 1049"/>
          <p:cNvSpPr/>
          <p:nvPr/>
        </p:nvSpPr>
        <p:spPr>
          <a:xfrm>
            <a:off x="654966" y="3758831"/>
            <a:ext cx="11147569" cy="9906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" name="Shape 1050"/>
          <p:cNvSpPr txBox="1">
            <a:spLocks noGrp="1"/>
          </p:cNvSpPr>
          <p:nvPr>
            <p:ph type="body" idx="4"/>
          </p:nvPr>
        </p:nvSpPr>
        <p:spPr>
          <a:xfrm>
            <a:off x="3159233" y="3916334"/>
            <a:ext cx="3801600" cy="318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1" name="Shape 1051"/>
          <p:cNvSpPr txBox="1">
            <a:spLocks noGrp="1"/>
          </p:cNvSpPr>
          <p:nvPr>
            <p:ph type="body" idx="5"/>
          </p:nvPr>
        </p:nvSpPr>
        <p:spPr>
          <a:xfrm>
            <a:off x="7281335" y="3916334"/>
            <a:ext cx="3802664" cy="3181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75272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Arial"/>
              <a:buChar char="•"/>
              <a:defRPr sz="10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2" name="Shape 1052"/>
          <p:cNvSpPr txBox="1">
            <a:spLocks noGrp="1"/>
          </p:cNvSpPr>
          <p:nvPr>
            <p:ph type="body" idx="6"/>
          </p:nvPr>
        </p:nvSpPr>
        <p:spPr>
          <a:xfrm>
            <a:off x="835895" y="4215325"/>
            <a:ext cx="1713976" cy="7385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>
                <a:schemeClr val="accent2"/>
              </a:buClr>
              <a:buSzPts val="735"/>
              <a:buFont typeface="Noto Sans Symbols"/>
              <a:buNone/>
              <a:defRPr sz="1050" b="1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3" name="Shape 1053"/>
          <p:cNvSpPr>
            <a:spLocks noGrp="1"/>
          </p:cNvSpPr>
          <p:nvPr>
            <p:ph type="pic" idx="7"/>
          </p:nvPr>
        </p:nvSpPr>
        <p:spPr>
          <a:xfrm>
            <a:off x="3160184" y="2120900"/>
            <a:ext cx="3801533" cy="151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4" name="Shape 1054"/>
          <p:cNvSpPr>
            <a:spLocks noGrp="1"/>
          </p:cNvSpPr>
          <p:nvPr>
            <p:ph type="pic" idx="8"/>
          </p:nvPr>
        </p:nvSpPr>
        <p:spPr>
          <a:xfrm>
            <a:off x="7281335" y="2104867"/>
            <a:ext cx="3801533" cy="151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5" name="Shape 1055"/>
          <p:cNvSpPr>
            <a:spLocks noGrp="1"/>
          </p:cNvSpPr>
          <p:nvPr>
            <p:ph type="pic" idx="9"/>
          </p:nvPr>
        </p:nvSpPr>
        <p:spPr>
          <a:xfrm>
            <a:off x="7275840" y="4337227"/>
            <a:ext cx="3801533" cy="151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6" name="Shape 1056"/>
          <p:cNvSpPr>
            <a:spLocks noGrp="1"/>
          </p:cNvSpPr>
          <p:nvPr>
            <p:ph type="pic" idx="13"/>
          </p:nvPr>
        </p:nvSpPr>
        <p:spPr>
          <a:xfrm>
            <a:off x="3184952" y="4337227"/>
            <a:ext cx="3801533" cy="151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4156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3" name="Shape 83"/>
          <p:cNvSpPr/>
          <p:nvPr/>
        </p:nvSpPr>
        <p:spPr>
          <a:xfrm rot="10800000">
            <a:off x="11464429" y="6315958"/>
            <a:ext cx="727571" cy="443430"/>
          </a:xfrm>
          <a:prstGeom prst="homePlat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Shape 84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pic>
        <p:nvPicPr>
          <p:cNvPr id="85" name="Shape 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1036" y="6098041"/>
            <a:ext cx="1154328" cy="650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 Layout">
  <p:cSld name="2_Custom Layout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pic" idx="2"/>
          </p:nvPr>
        </p:nvSpPr>
        <p:spPr>
          <a:xfrm>
            <a:off x="1" y="0"/>
            <a:ext cx="5370287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Shape 88"/>
          <p:cNvSpPr/>
          <p:nvPr/>
        </p:nvSpPr>
        <p:spPr>
          <a:xfrm rot="10800000">
            <a:off x="11464429" y="510908"/>
            <a:ext cx="727571" cy="443430"/>
          </a:xfrm>
          <a:prstGeom prst="homePlat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Shape 89"/>
          <p:cNvSpPr txBox="1">
            <a:spLocks noGrp="1"/>
          </p:cNvSpPr>
          <p:nvPr>
            <p:ph type="sldNum" idx="12"/>
          </p:nvPr>
        </p:nvSpPr>
        <p:spPr>
          <a:xfrm>
            <a:off x="11393719" y="545148"/>
            <a:ext cx="648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5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bg>
      <p:bgPr>
        <a:solidFill>
          <a:schemeClr val="accent1"/>
        </a:solid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" name="Shape 91"/>
          <p:cNvGrpSpPr/>
          <p:nvPr/>
        </p:nvGrpSpPr>
        <p:grpSpPr>
          <a:xfrm>
            <a:off x="-1447799" y="4500717"/>
            <a:ext cx="15544799" cy="2700184"/>
            <a:chOff x="-412916" y="4500715"/>
            <a:chExt cx="13559800" cy="2936005"/>
          </a:xfrm>
        </p:grpSpPr>
        <p:sp>
          <p:nvSpPr>
            <p:cNvPr id="92" name="Shape 92"/>
            <p:cNvSpPr/>
            <p:nvPr/>
          </p:nvSpPr>
          <p:spPr>
            <a:xfrm>
              <a:off x="15085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18470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-412916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150855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717067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24132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29794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35432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Shape 100"/>
            <p:cNvSpPr/>
            <p:nvPr/>
          </p:nvSpPr>
          <p:spPr>
            <a:xfrm>
              <a:off x="46756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Shape 101"/>
            <p:cNvSpPr/>
            <p:nvPr/>
          </p:nvSpPr>
          <p:spPr>
            <a:xfrm>
              <a:off x="580565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0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-412916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Shape 103"/>
            <p:cNvSpPr/>
            <p:nvPr/>
          </p:nvSpPr>
          <p:spPr>
            <a:xfrm>
              <a:off x="7170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Shape 104"/>
            <p:cNvSpPr/>
            <p:nvPr/>
          </p:nvSpPr>
          <p:spPr>
            <a:xfrm>
              <a:off x="12832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Shape 105"/>
            <p:cNvSpPr/>
            <p:nvPr/>
          </p:nvSpPr>
          <p:spPr>
            <a:xfrm>
              <a:off x="18470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Shape 106"/>
            <p:cNvSpPr/>
            <p:nvPr/>
          </p:nvSpPr>
          <p:spPr>
            <a:xfrm>
              <a:off x="24132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Shape 107"/>
            <p:cNvSpPr/>
            <p:nvPr/>
          </p:nvSpPr>
          <p:spPr>
            <a:xfrm>
              <a:off x="29794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Shape 108"/>
            <p:cNvSpPr/>
            <p:nvPr/>
          </p:nvSpPr>
          <p:spPr>
            <a:xfrm>
              <a:off x="41094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Shape 109"/>
            <p:cNvSpPr/>
            <p:nvPr/>
          </p:nvSpPr>
          <p:spPr>
            <a:xfrm>
              <a:off x="46756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Shape 110"/>
            <p:cNvSpPr/>
            <p:nvPr/>
          </p:nvSpPr>
          <p:spPr>
            <a:xfrm>
              <a:off x="52394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Shape 111"/>
            <p:cNvSpPr/>
            <p:nvPr/>
          </p:nvSpPr>
          <p:spPr>
            <a:xfrm>
              <a:off x="580565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0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8626951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Shape 113"/>
            <p:cNvSpPr/>
            <p:nvPr/>
          </p:nvSpPr>
          <p:spPr>
            <a:xfrm>
              <a:off x="10323145" y="4500715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Shape 114"/>
            <p:cNvSpPr/>
            <p:nvPr/>
          </p:nvSpPr>
          <p:spPr>
            <a:xfrm>
              <a:off x="10889357" y="4500715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Shape 115"/>
            <p:cNvSpPr/>
            <p:nvPr/>
          </p:nvSpPr>
          <p:spPr>
            <a:xfrm>
              <a:off x="12019341" y="4500715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Shape 116"/>
            <p:cNvSpPr/>
            <p:nvPr/>
          </p:nvSpPr>
          <p:spPr>
            <a:xfrm>
              <a:off x="8626951" y="548182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Shape 117"/>
            <p:cNvSpPr/>
            <p:nvPr/>
          </p:nvSpPr>
          <p:spPr>
            <a:xfrm>
              <a:off x="9193163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Shape 118"/>
            <p:cNvSpPr/>
            <p:nvPr/>
          </p:nvSpPr>
          <p:spPr>
            <a:xfrm>
              <a:off x="9759375" y="548182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Shape 119"/>
            <p:cNvSpPr/>
            <p:nvPr/>
          </p:nvSpPr>
          <p:spPr>
            <a:xfrm>
              <a:off x="10323145" y="5479384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Shape 120"/>
            <p:cNvSpPr/>
            <p:nvPr/>
          </p:nvSpPr>
          <p:spPr>
            <a:xfrm>
              <a:off x="11455569" y="5479384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Shape 121"/>
            <p:cNvSpPr/>
            <p:nvPr/>
          </p:nvSpPr>
          <p:spPr>
            <a:xfrm>
              <a:off x="6366984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Shape 122"/>
            <p:cNvSpPr/>
            <p:nvPr/>
          </p:nvSpPr>
          <p:spPr>
            <a:xfrm>
              <a:off x="749696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Shape 123"/>
            <p:cNvSpPr/>
            <p:nvPr/>
          </p:nvSpPr>
          <p:spPr>
            <a:xfrm>
              <a:off x="806317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Shape 124"/>
            <p:cNvSpPr/>
            <p:nvPr/>
          </p:nvSpPr>
          <p:spPr>
            <a:xfrm>
              <a:off x="8626951" y="645805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Shape 125"/>
            <p:cNvSpPr/>
            <p:nvPr/>
          </p:nvSpPr>
          <p:spPr>
            <a:xfrm>
              <a:off x="9193163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Shape 126"/>
            <p:cNvSpPr/>
            <p:nvPr/>
          </p:nvSpPr>
          <p:spPr>
            <a:xfrm>
              <a:off x="9759375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Shape 127"/>
            <p:cNvSpPr/>
            <p:nvPr/>
          </p:nvSpPr>
          <p:spPr>
            <a:xfrm>
              <a:off x="10889357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Shape 128"/>
            <p:cNvSpPr/>
            <p:nvPr/>
          </p:nvSpPr>
          <p:spPr>
            <a:xfrm>
              <a:off x="11455569" y="645805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Shape 129"/>
            <p:cNvSpPr/>
            <p:nvPr/>
          </p:nvSpPr>
          <p:spPr>
            <a:xfrm>
              <a:off x="12019341" y="6458051"/>
              <a:ext cx="1127543" cy="978669"/>
            </a:xfrm>
            <a:custGeom>
              <a:avLst/>
              <a:gdLst/>
              <a:ahLst/>
              <a:cxnLst/>
              <a:rect l="0" t="0" r="0" b="0"/>
              <a:pathLst>
                <a:path w="462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2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30" name="Shape 130"/>
          <p:cNvGrpSpPr/>
          <p:nvPr/>
        </p:nvGrpSpPr>
        <p:grpSpPr>
          <a:xfrm rot="1737091">
            <a:off x="-1509136" y="217289"/>
            <a:ext cx="3018272" cy="2440750"/>
            <a:chOff x="8349573" y="-1673337"/>
            <a:chExt cx="6162676" cy="6416675"/>
          </a:xfrm>
        </p:grpSpPr>
        <p:sp>
          <p:nvSpPr>
            <p:cNvPr id="131" name="Shape 131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Shape 132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Shape 133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Shape 134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Shape 135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Shape 136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Shape 137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Shape 138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Shape 139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Shape 140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Shape 141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Shape 142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43" name="Shape 143"/>
          <p:cNvGrpSpPr/>
          <p:nvPr/>
        </p:nvGrpSpPr>
        <p:grpSpPr>
          <a:xfrm>
            <a:off x="10942710" y="1957633"/>
            <a:ext cx="2338271" cy="1910862"/>
            <a:chOff x="8349573" y="-1673337"/>
            <a:chExt cx="6162676" cy="6416675"/>
          </a:xfrm>
        </p:grpSpPr>
        <p:sp>
          <p:nvSpPr>
            <p:cNvPr id="144" name="Shape 144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Shape 145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Shape 146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Shape 147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Shape 148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Shape 149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Shape 150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Shape 151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Shape 152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Shape 153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Shape 154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Shape 156"/>
          <p:cNvSpPr>
            <a:spLocks noGrp="1"/>
          </p:cNvSpPr>
          <p:nvPr>
            <p:ph type="pic" idx="2"/>
          </p:nvPr>
        </p:nvSpPr>
        <p:spPr>
          <a:xfrm>
            <a:off x="1044821" y="671296"/>
            <a:ext cx="2064000" cy="1548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157" name="Shape 157"/>
          <p:cNvSpPr>
            <a:spLocks noGrp="1"/>
          </p:cNvSpPr>
          <p:nvPr>
            <p:ph type="pic" idx="3"/>
          </p:nvPr>
        </p:nvSpPr>
        <p:spPr>
          <a:xfrm>
            <a:off x="6439239" y="916877"/>
            <a:ext cx="2496000" cy="187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158" name="Shape 158"/>
          <p:cNvSpPr>
            <a:spLocks noGrp="1"/>
          </p:cNvSpPr>
          <p:nvPr>
            <p:ph type="pic" idx="4"/>
          </p:nvPr>
        </p:nvSpPr>
        <p:spPr>
          <a:xfrm>
            <a:off x="3572884" y="1947076"/>
            <a:ext cx="2160000" cy="1620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159" name="Shape 159"/>
          <p:cNvSpPr>
            <a:spLocks noGrp="1"/>
          </p:cNvSpPr>
          <p:nvPr>
            <p:ph type="pic" idx="5"/>
          </p:nvPr>
        </p:nvSpPr>
        <p:spPr>
          <a:xfrm>
            <a:off x="8258932" y="2820063"/>
            <a:ext cx="2496000" cy="1872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160" name="Shape 160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Shape 161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bg>
      <p:bgPr>
        <a:solidFill>
          <a:schemeClr val="accent2"/>
        </a:solidFill>
        <a:effectLst/>
      </p:bgPr>
    </p:bg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Shape 163"/>
          <p:cNvGrpSpPr/>
          <p:nvPr/>
        </p:nvGrpSpPr>
        <p:grpSpPr>
          <a:xfrm rot="5400000">
            <a:off x="10335199" y="-268752"/>
            <a:ext cx="2627251" cy="3400105"/>
            <a:chOff x="8349573" y="-1673337"/>
            <a:chExt cx="6162676" cy="6416675"/>
          </a:xfrm>
        </p:grpSpPr>
        <p:sp>
          <p:nvSpPr>
            <p:cNvPr id="164" name="Shape 164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Shape 165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Shape 166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Shape 167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Shape 168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Shape 169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Shape 170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Shape 173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Shape 175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6" name="Shape 176"/>
          <p:cNvGrpSpPr/>
          <p:nvPr/>
        </p:nvGrpSpPr>
        <p:grpSpPr>
          <a:xfrm rot="5400000">
            <a:off x="-1051056" y="1288190"/>
            <a:ext cx="2438379" cy="3155673"/>
            <a:chOff x="8349573" y="-1673337"/>
            <a:chExt cx="6162676" cy="6416675"/>
          </a:xfrm>
        </p:grpSpPr>
        <p:sp>
          <p:nvSpPr>
            <p:cNvPr id="177" name="Shape 177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Shape 178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" name="Shape 179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Shape 180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Shape 181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Shape 182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" name="Shape 183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" name="Shape 184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Shape 185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Shape 186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" name="Shape 187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8" name="Shape 188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9" name="Shape 189"/>
          <p:cNvGrpSpPr/>
          <p:nvPr/>
        </p:nvGrpSpPr>
        <p:grpSpPr>
          <a:xfrm rot="5400000">
            <a:off x="10910101" y="4659850"/>
            <a:ext cx="1813092" cy="2346445"/>
            <a:chOff x="8349573" y="-1673337"/>
            <a:chExt cx="6162676" cy="6416675"/>
          </a:xfrm>
        </p:grpSpPr>
        <p:sp>
          <p:nvSpPr>
            <p:cNvPr id="190" name="Shape 190"/>
            <p:cNvSpPr/>
            <p:nvPr/>
          </p:nvSpPr>
          <p:spPr>
            <a:xfrm>
              <a:off x="83495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Shape 191"/>
            <p:cNvSpPr/>
            <p:nvPr/>
          </p:nvSpPr>
          <p:spPr>
            <a:xfrm>
              <a:off x="95703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Shape 192"/>
            <p:cNvSpPr/>
            <p:nvPr/>
          </p:nvSpPr>
          <p:spPr>
            <a:xfrm>
              <a:off x="10787973" y="-1673337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4"/>
                  </a:moveTo>
                  <a:lnTo>
                    <a:pt x="1536" y="1344"/>
                  </a:lnTo>
                  <a:lnTo>
                    <a:pt x="788" y="47"/>
                  </a:lnTo>
                  <a:lnTo>
                    <a:pt x="40" y="134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Shape 193"/>
            <p:cNvSpPr/>
            <p:nvPr/>
          </p:nvSpPr>
          <p:spPr>
            <a:xfrm>
              <a:off x="12008761" y="-1655875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Shape 194"/>
            <p:cNvSpPr/>
            <p:nvPr/>
          </p:nvSpPr>
          <p:spPr>
            <a:xfrm>
              <a:off x="83495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Shape 195"/>
            <p:cNvSpPr/>
            <p:nvPr/>
          </p:nvSpPr>
          <p:spPr>
            <a:xfrm>
              <a:off x="95703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8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8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Shape 196"/>
            <p:cNvSpPr/>
            <p:nvPr/>
          </p:nvSpPr>
          <p:spPr>
            <a:xfrm>
              <a:off x="10787973" y="460263"/>
              <a:ext cx="2501900" cy="2168525"/>
            </a:xfrm>
            <a:custGeom>
              <a:avLst/>
              <a:gdLst/>
              <a:ahLst/>
              <a:cxnLst/>
              <a:rect l="0" t="0" r="0" b="0"/>
              <a:pathLst>
                <a:path w="1576" h="1366" extrusionOk="0">
                  <a:moveTo>
                    <a:pt x="788" y="1366"/>
                  </a:moveTo>
                  <a:lnTo>
                    <a:pt x="0" y="0"/>
                  </a:lnTo>
                  <a:lnTo>
                    <a:pt x="1576" y="0"/>
                  </a:lnTo>
                  <a:lnTo>
                    <a:pt x="788" y="1366"/>
                  </a:lnTo>
                  <a:close/>
                  <a:moveTo>
                    <a:pt x="40" y="24"/>
                  </a:moveTo>
                  <a:lnTo>
                    <a:pt x="788" y="1318"/>
                  </a:lnTo>
                  <a:lnTo>
                    <a:pt x="1536" y="24"/>
                  </a:lnTo>
                  <a:lnTo>
                    <a:pt x="40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Shape 197"/>
            <p:cNvSpPr/>
            <p:nvPr/>
          </p:nvSpPr>
          <p:spPr>
            <a:xfrm>
              <a:off x="12008761" y="441213"/>
              <a:ext cx="2503488" cy="2168525"/>
            </a:xfrm>
            <a:custGeom>
              <a:avLst/>
              <a:gdLst/>
              <a:ahLst/>
              <a:cxnLst/>
              <a:rect l="0" t="0" r="0" b="0"/>
              <a:pathLst>
                <a:path w="1577" h="1366" extrusionOk="0">
                  <a:moveTo>
                    <a:pt x="1577" y="1366"/>
                  </a:moveTo>
                  <a:lnTo>
                    <a:pt x="0" y="1366"/>
                  </a:lnTo>
                  <a:lnTo>
                    <a:pt x="789" y="0"/>
                  </a:lnTo>
                  <a:lnTo>
                    <a:pt x="1577" y="1366"/>
                  </a:lnTo>
                  <a:close/>
                  <a:moveTo>
                    <a:pt x="41" y="1342"/>
                  </a:moveTo>
                  <a:lnTo>
                    <a:pt x="1536" y="1342"/>
                  </a:lnTo>
                  <a:lnTo>
                    <a:pt x="789" y="47"/>
                  </a:lnTo>
                  <a:lnTo>
                    <a:pt x="41" y="134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Shape 198"/>
            <p:cNvSpPr/>
            <p:nvPr/>
          </p:nvSpPr>
          <p:spPr>
            <a:xfrm>
              <a:off x="83495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Shape 199"/>
            <p:cNvSpPr/>
            <p:nvPr/>
          </p:nvSpPr>
          <p:spPr>
            <a:xfrm>
              <a:off x="95703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8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8" y="1368"/>
                  </a:lnTo>
                  <a:close/>
                  <a:moveTo>
                    <a:pt x="41" y="24"/>
                  </a:moveTo>
                  <a:lnTo>
                    <a:pt x="788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0" name="Shape 200"/>
            <p:cNvSpPr/>
            <p:nvPr/>
          </p:nvSpPr>
          <p:spPr>
            <a:xfrm>
              <a:off x="10787973" y="2552588"/>
              <a:ext cx="2501900" cy="2171700"/>
            </a:xfrm>
            <a:custGeom>
              <a:avLst/>
              <a:gdLst/>
              <a:ahLst/>
              <a:cxnLst/>
              <a:rect l="0" t="0" r="0" b="0"/>
              <a:pathLst>
                <a:path w="1576" h="1368" extrusionOk="0">
                  <a:moveTo>
                    <a:pt x="1576" y="1368"/>
                  </a:moveTo>
                  <a:lnTo>
                    <a:pt x="0" y="1368"/>
                  </a:lnTo>
                  <a:lnTo>
                    <a:pt x="788" y="0"/>
                  </a:lnTo>
                  <a:lnTo>
                    <a:pt x="1576" y="1368"/>
                  </a:lnTo>
                  <a:close/>
                  <a:moveTo>
                    <a:pt x="40" y="1345"/>
                  </a:moveTo>
                  <a:lnTo>
                    <a:pt x="1536" y="1345"/>
                  </a:lnTo>
                  <a:lnTo>
                    <a:pt x="788" y="48"/>
                  </a:lnTo>
                  <a:lnTo>
                    <a:pt x="40" y="1345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Shape 201"/>
            <p:cNvSpPr/>
            <p:nvPr/>
          </p:nvSpPr>
          <p:spPr>
            <a:xfrm>
              <a:off x="12008761" y="2571638"/>
              <a:ext cx="2503488" cy="2171700"/>
            </a:xfrm>
            <a:custGeom>
              <a:avLst/>
              <a:gdLst/>
              <a:ahLst/>
              <a:cxnLst/>
              <a:rect l="0" t="0" r="0" b="0"/>
              <a:pathLst>
                <a:path w="1577" h="1368" extrusionOk="0">
                  <a:moveTo>
                    <a:pt x="789" y="1368"/>
                  </a:moveTo>
                  <a:lnTo>
                    <a:pt x="0" y="0"/>
                  </a:lnTo>
                  <a:lnTo>
                    <a:pt x="1577" y="0"/>
                  </a:lnTo>
                  <a:lnTo>
                    <a:pt x="789" y="1368"/>
                  </a:lnTo>
                  <a:close/>
                  <a:moveTo>
                    <a:pt x="41" y="24"/>
                  </a:moveTo>
                  <a:lnTo>
                    <a:pt x="789" y="1321"/>
                  </a:lnTo>
                  <a:lnTo>
                    <a:pt x="1536" y="24"/>
                  </a:lnTo>
                  <a:lnTo>
                    <a:pt x="41" y="24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2" name="Shape 202"/>
          <p:cNvSpPr>
            <a:spLocks noGrp="1"/>
          </p:cNvSpPr>
          <p:nvPr>
            <p:ph type="pic" idx="2"/>
          </p:nvPr>
        </p:nvSpPr>
        <p:spPr>
          <a:xfrm>
            <a:off x="1134795" y="811026"/>
            <a:ext cx="2112000" cy="158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3" name="Shape 203"/>
          <p:cNvSpPr>
            <a:spLocks noGrp="1"/>
          </p:cNvSpPr>
          <p:nvPr>
            <p:ph type="pic" idx="3"/>
          </p:nvPr>
        </p:nvSpPr>
        <p:spPr>
          <a:xfrm>
            <a:off x="930400" y="3534474"/>
            <a:ext cx="2352000" cy="176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4" name="Shape 204"/>
          <p:cNvSpPr>
            <a:spLocks noGrp="1"/>
          </p:cNvSpPr>
          <p:nvPr>
            <p:ph type="pic" idx="4"/>
          </p:nvPr>
        </p:nvSpPr>
        <p:spPr>
          <a:xfrm>
            <a:off x="3529195" y="2122065"/>
            <a:ext cx="2112000" cy="158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5" name="Shape 205"/>
          <p:cNvSpPr>
            <a:spLocks noGrp="1"/>
          </p:cNvSpPr>
          <p:nvPr>
            <p:ph type="pic" idx="5"/>
          </p:nvPr>
        </p:nvSpPr>
        <p:spPr>
          <a:xfrm>
            <a:off x="6437839" y="1531278"/>
            <a:ext cx="1872000" cy="1404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6" name="Shape 206"/>
          <p:cNvSpPr>
            <a:spLocks noGrp="1"/>
          </p:cNvSpPr>
          <p:nvPr>
            <p:ph type="pic" idx="6"/>
          </p:nvPr>
        </p:nvSpPr>
        <p:spPr>
          <a:xfrm>
            <a:off x="9159351" y="2998033"/>
            <a:ext cx="2400000" cy="1800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7" name="Shape 207"/>
          <p:cNvSpPr>
            <a:spLocks noGrp="1"/>
          </p:cNvSpPr>
          <p:nvPr>
            <p:ph type="pic" idx="7"/>
          </p:nvPr>
        </p:nvSpPr>
        <p:spPr>
          <a:xfrm>
            <a:off x="6456967" y="4709757"/>
            <a:ext cx="2064000" cy="1548000"/>
          </a:xfrm>
          <a:prstGeom prst="diamond">
            <a:avLst/>
          </a:prstGeom>
          <a:noFill/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208" name="Shape 208"/>
          <p:cNvSpPr/>
          <p:nvPr/>
        </p:nvSpPr>
        <p:spPr>
          <a:xfrm rot="10800000">
            <a:off x="11232000" y="510908"/>
            <a:ext cx="960000" cy="443430"/>
          </a:xfrm>
          <a:prstGeom prst="homePlate">
            <a:avLst>
              <a:gd name="adj" fmla="val 50000"/>
            </a:avLst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Shape 209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4.jpg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Raleway"/>
              <a:buNone/>
              <a:defRPr sz="44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705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Shape 414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Raleway"/>
              <a:buNone/>
              <a:defRPr sz="4400" b="0" i="0" u="none" strike="noStrike" cap="none">
                <a:solidFill>
                  <a:schemeClr val="dk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15" name="Shape 41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" name="Shape 416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7" name="Shape 417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8" name="Shape 418"/>
          <p:cNvSpPr txBox="1">
            <a:spLocks noGrp="1"/>
          </p:cNvSpPr>
          <p:nvPr>
            <p:ph type="sldNum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706" r:id="rId2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5">
            <a:alphaModFix/>
          </a:blip>
          <a:stretch>
            <a:fillRect/>
          </a:stretch>
        </a:blipFill>
        <a:effectLst/>
      </p:bgPr>
    </p:bg>
    <p:spTree>
      <p:nvGrpSpPr>
        <p:cNvPr id="1" name="Shape 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Shape 821"/>
          <p:cNvSpPr/>
          <p:nvPr/>
        </p:nvSpPr>
        <p:spPr>
          <a:xfrm>
            <a:off x="2119" y="1593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822" name="Shape 822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195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  <p:sp>
        <p:nvSpPr>
          <p:cNvPr id="823" name="Shape 823"/>
          <p:cNvSpPr txBox="1">
            <a:spLocks noGrp="1"/>
          </p:cNvSpPr>
          <p:nvPr>
            <p:ph type="title"/>
          </p:nvPr>
        </p:nvSpPr>
        <p:spPr>
          <a:xfrm>
            <a:off x="427569" y="374650"/>
            <a:ext cx="10382251" cy="984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3B3F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4" name="Shape 824"/>
          <p:cNvSpPr txBox="1">
            <a:spLocks noGrp="1"/>
          </p:cNvSpPr>
          <p:nvPr>
            <p:ph type="body" idx="1"/>
          </p:nvPr>
        </p:nvSpPr>
        <p:spPr>
          <a:xfrm>
            <a:off x="427570" y="1393825"/>
            <a:ext cx="11374967" cy="4979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8194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accent2"/>
              </a:buClr>
              <a:buSzPts val="84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8637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1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788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–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8638" algn="l" rtl="0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accent5"/>
              </a:buClr>
              <a:buSzPts val="788"/>
              <a:buFont typeface="Arial"/>
              <a:buChar char="»"/>
              <a:defRPr sz="1125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5" name="Shape 825"/>
          <p:cNvSpPr txBox="1">
            <a:spLocks noGrp="1"/>
          </p:cNvSpPr>
          <p:nvPr>
            <p:ph type="dt" idx="10"/>
          </p:nvPr>
        </p:nvSpPr>
        <p:spPr>
          <a:xfrm>
            <a:off x="370420" y="6604622"/>
            <a:ext cx="192193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6" name="Shape 826"/>
          <p:cNvSpPr txBox="1">
            <a:spLocks noGrp="1"/>
          </p:cNvSpPr>
          <p:nvPr>
            <p:ph type="ftr" idx="11"/>
          </p:nvPr>
        </p:nvSpPr>
        <p:spPr>
          <a:xfrm>
            <a:off x="2258485" y="6604622"/>
            <a:ext cx="68856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827" name="Shape 827"/>
          <p:cNvCxnSpPr/>
          <p:nvPr/>
        </p:nvCxnSpPr>
        <p:spPr>
          <a:xfrm>
            <a:off x="11472597" y="6655721"/>
            <a:ext cx="0" cy="144016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1.xml"/><Relationship Id="rId1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1" name="Shape 1061"/>
          <p:cNvGrpSpPr/>
          <p:nvPr/>
        </p:nvGrpSpPr>
        <p:grpSpPr>
          <a:xfrm>
            <a:off x="5723740" y="0"/>
            <a:ext cx="5698128" cy="6913536"/>
            <a:chOff x="4843448" y="0"/>
            <a:chExt cx="5652356" cy="6858000"/>
          </a:xfrm>
        </p:grpSpPr>
        <p:sp>
          <p:nvSpPr>
            <p:cNvPr id="1062" name="Shape 1062"/>
            <p:cNvSpPr/>
            <p:nvPr/>
          </p:nvSpPr>
          <p:spPr>
            <a:xfrm>
              <a:off x="5407219" y="0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3" name="Shape 1063"/>
            <p:cNvSpPr/>
            <p:nvPr/>
          </p:nvSpPr>
          <p:spPr>
            <a:xfrm>
              <a:off x="5973431" y="0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4" name="Shape 1064"/>
            <p:cNvSpPr/>
            <p:nvPr/>
          </p:nvSpPr>
          <p:spPr>
            <a:xfrm>
              <a:off x="6539643" y="0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5" name="Shape 1065"/>
            <p:cNvSpPr/>
            <p:nvPr/>
          </p:nvSpPr>
          <p:spPr>
            <a:xfrm>
              <a:off x="7103415" y="0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6" name="Shape 1066"/>
            <p:cNvSpPr/>
            <p:nvPr/>
          </p:nvSpPr>
          <p:spPr>
            <a:xfrm>
              <a:off x="7669627" y="0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7" name="Shape 1067"/>
            <p:cNvSpPr/>
            <p:nvPr/>
          </p:nvSpPr>
          <p:spPr>
            <a:xfrm>
              <a:off x="8799609" y="0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8" name="Shape 1068"/>
            <p:cNvSpPr/>
            <p:nvPr/>
          </p:nvSpPr>
          <p:spPr>
            <a:xfrm>
              <a:off x="9365821" y="0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9" name="Shape 1069"/>
            <p:cNvSpPr/>
            <p:nvPr/>
          </p:nvSpPr>
          <p:spPr>
            <a:xfrm>
              <a:off x="4843448" y="978669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Shape 1070"/>
            <p:cNvSpPr/>
            <p:nvPr/>
          </p:nvSpPr>
          <p:spPr>
            <a:xfrm>
              <a:off x="5407219" y="981109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1" name="Shape 1071"/>
            <p:cNvSpPr/>
            <p:nvPr/>
          </p:nvSpPr>
          <p:spPr>
            <a:xfrm>
              <a:off x="5973431" y="978669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2" name="Shape 1072"/>
            <p:cNvSpPr/>
            <p:nvPr/>
          </p:nvSpPr>
          <p:spPr>
            <a:xfrm>
              <a:off x="7103415" y="981109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3" name="Shape 1073"/>
            <p:cNvSpPr/>
            <p:nvPr/>
          </p:nvSpPr>
          <p:spPr>
            <a:xfrm>
              <a:off x="7669627" y="978669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4" name="Shape 1074"/>
            <p:cNvSpPr/>
            <p:nvPr/>
          </p:nvSpPr>
          <p:spPr>
            <a:xfrm>
              <a:off x="8235839" y="981109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5" name="Shape 1075"/>
            <p:cNvSpPr/>
            <p:nvPr/>
          </p:nvSpPr>
          <p:spPr>
            <a:xfrm>
              <a:off x="8799609" y="978669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6" name="Shape 1076"/>
            <p:cNvSpPr/>
            <p:nvPr/>
          </p:nvSpPr>
          <p:spPr>
            <a:xfrm>
              <a:off x="9365821" y="981109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7" name="Shape 1077"/>
            <p:cNvSpPr/>
            <p:nvPr/>
          </p:nvSpPr>
          <p:spPr>
            <a:xfrm>
              <a:off x="4843448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8" name="Shape 1078"/>
            <p:cNvSpPr/>
            <p:nvPr/>
          </p:nvSpPr>
          <p:spPr>
            <a:xfrm>
              <a:off x="5973431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9" name="Shape 1079"/>
            <p:cNvSpPr/>
            <p:nvPr/>
          </p:nvSpPr>
          <p:spPr>
            <a:xfrm>
              <a:off x="6539643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0" name="Shape 1080"/>
            <p:cNvSpPr/>
            <p:nvPr/>
          </p:nvSpPr>
          <p:spPr>
            <a:xfrm>
              <a:off x="7103415" y="1957336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1" name="Shape 1081"/>
            <p:cNvSpPr/>
            <p:nvPr/>
          </p:nvSpPr>
          <p:spPr>
            <a:xfrm>
              <a:off x="7669627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2" name="Shape 1082"/>
            <p:cNvSpPr/>
            <p:nvPr/>
          </p:nvSpPr>
          <p:spPr>
            <a:xfrm>
              <a:off x="8235839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3" name="Shape 1083"/>
            <p:cNvSpPr/>
            <p:nvPr/>
          </p:nvSpPr>
          <p:spPr>
            <a:xfrm>
              <a:off x="9365821" y="1957336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4" name="Shape 1084"/>
            <p:cNvSpPr/>
            <p:nvPr/>
          </p:nvSpPr>
          <p:spPr>
            <a:xfrm>
              <a:off x="4843448" y="2936005"/>
              <a:ext cx="1129983" cy="981109"/>
            </a:xfrm>
            <a:custGeom>
              <a:avLst/>
              <a:gdLst/>
              <a:ahLst/>
              <a:cxnLst/>
              <a:rect l="0" t="0" r="0" b="0"/>
              <a:pathLst>
                <a:path w="463" h="402" extrusionOk="0">
                  <a:moveTo>
                    <a:pt x="463" y="0"/>
                  </a:moveTo>
                  <a:lnTo>
                    <a:pt x="231" y="402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5" name="Shape 1085"/>
            <p:cNvSpPr/>
            <p:nvPr/>
          </p:nvSpPr>
          <p:spPr>
            <a:xfrm>
              <a:off x="5407219" y="2936005"/>
              <a:ext cx="1132424" cy="981109"/>
            </a:xfrm>
            <a:custGeom>
              <a:avLst/>
              <a:gdLst/>
              <a:ahLst/>
              <a:cxnLst/>
              <a:rect l="0" t="0" r="0" b="0"/>
              <a:pathLst>
                <a:path w="464" h="402" extrusionOk="0">
                  <a:moveTo>
                    <a:pt x="0" y="402"/>
                  </a:moveTo>
                  <a:lnTo>
                    <a:pt x="232" y="0"/>
                  </a:lnTo>
                  <a:lnTo>
                    <a:pt x="464" y="402"/>
                  </a:lnTo>
                  <a:lnTo>
                    <a:pt x="0" y="402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6" name="Shape 1086"/>
            <p:cNvSpPr/>
            <p:nvPr/>
          </p:nvSpPr>
          <p:spPr>
            <a:xfrm>
              <a:off x="5973431" y="2936005"/>
              <a:ext cx="1129983" cy="981109"/>
            </a:xfrm>
            <a:custGeom>
              <a:avLst/>
              <a:gdLst/>
              <a:ahLst/>
              <a:cxnLst/>
              <a:rect l="0" t="0" r="0" b="0"/>
              <a:pathLst>
                <a:path w="463" h="402" extrusionOk="0">
                  <a:moveTo>
                    <a:pt x="463" y="0"/>
                  </a:moveTo>
                  <a:lnTo>
                    <a:pt x="232" y="402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7" name="Shape 1087"/>
            <p:cNvSpPr/>
            <p:nvPr/>
          </p:nvSpPr>
          <p:spPr>
            <a:xfrm>
              <a:off x="6539643" y="2936005"/>
              <a:ext cx="1129983" cy="981109"/>
            </a:xfrm>
            <a:custGeom>
              <a:avLst/>
              <a:gdLst/>
              <a:ahLst/>
              <a:cxnLst/>
              <a:rect l="0" t="0" r="0" b="0"/>
              <a:pathLst>
                <a:path w="463" h="402" extrusionOk="0">
                  <a:moveTo>
                    <a:pt x="0" y="402"/>
                  </a:moveTo>
                  <a:lnTo>
                    <a:pt x="231" y="0"/>
                  </a:lnTo>
                  <a:lnTo>
                    <a:pt x="463" y="402"/>
                  </a:lnTo>
                  <a:lnTo>
                    <a:pt x="0" y="402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8" name="Shape 1088"/>
            <p:cNvSpPr/>
            <p:nvPr/>
          </p:nvSpPr>
          <p:spPr>
            <a:xfrm>
              <a:off x="7103415" y="2936005"/>
              <a:ext cx="1132424" cy="981109"/>
            </a:xfrm>
            <a:custGeom>
              <a:avLst/>
              <a:gdLst/>
              <a:ahLst/>
              <a:cxnLst/>
              <a:rect l="0" t="0" r="0" b="0"/>
              <a:pathLst>
                <a:path w="464" h="402" extrusionOk="0">
                  <a:moveTo>
                    <a:pt x="464" y="0"/>
                  </a:moveTo>
                  <a:lnTo>
                    <a:pt x="232" y="402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Shape 1089"/>
            <p:cNvSpPr/>
            <p:nvPr/>
          </p:nvSpPr>
          <p:spPr>
            <a:xfrm>
              <a:off x="8235839" y="2936005"/>
              <a:ext cx="1129983" cy="981109"/>
            </a:xfrm>
            <a:custGeom>
              <a:avLst/>
              <a:gdLst/>
              <a:ahLst/>
              <a:cxnLst/>
              <a:rect l="0" t="0" r="0" b="0"/>
              <a:pathLst>
                <a:path w="463" h="402" extrusionOk="0">
                  <a:moveTo>
                    <a:pt x="463" y="0"/>
                  </a:moveTo>
                  <a:lnTo>
                    <a:pt x="231" y="402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0" name="Shape 1090"/>
            <p:cNvSpPr/>
            <p:nvPr/>
          </p:nvSpPr>
          <p:spPr>
            <a:xfrm>
              <a:off x="8799609" y="2936005"/>
              <a:ext cx="1132424" cy="981109"/>
            </a:xfrm>
            <a:custGeom>
              <a:avLst/>
              <a:gdLst/>
              <a:ahLst/>
              <a:cxnLst/>
              <a:rect l="0" t="0" r="0" b="0"/>
              <a:pathLst>
                <a:path w="464" h="402" extrusionOk="0">
                  <a:moveTo>
                    <a:pt x="0" y="402"/>
                  </a:moveTo>
                  <a:lnTo>
                    <a:pt x="232" y="0"/>
                  </a:lnTo>
                  <a:lnTo>
                    <a:pt x="464" y="402"/>
                  </a:lnTo>
                  <a:lnTo>
                    <a:pt x="0" y="402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1" name="Shape 1091"/>
            <p:cNvSpPr/>
            <p:nvPr/>
          </p:nvSpPr>
          <p:spPr>
            <a:xfrm>
              <a:off x="5407219" y="3917114"/>
              <a:ext cx="1132424" cy="983550"/>
            </a:xfrm>
            <a:custGeom>
              <a:avLst/>
              <a:gdLst/>
              <a:ahLst/>
              <a:cxnLst/>
              <a:rect l="0" t="0" r="0" b="0"/>
              <a:pathLst>
                <a:path w="464" h="403" extrusionOk="0">
                  <a:moveTo>
                    <a:pt x="464" y="0"/>
                  </a:moveTo>
                  <a:lnTo>
                    <a:pt x="232" y="403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Shape 1092"/>
            <p:cNvSpPr/>
            <p:nvPr/>
          </p:nvSpPr>
          <p:spPr>
            <a:xfrm>
              <a:off x="6539643" y="3917114"/>
              <a:ext cx="1129983" cy="983550"/>
            </a:xfrm>
            <a:custGeom>
              <a:avLst/>
              <a:gdLst/>
              <a:ahLst/>
              <a:cxnLst/>
              <a:rect l="0" t="0" r="0" b="0"/>
              <a:pathLst>
                <a:path w="463" h="403" extrusionOk="0">
                  <a:moveTo>
                    <a:pt x="463" y="0"/>
                  </a:moveTo>
                  <a:lnTo>
                    <a:pt x="231" y="403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3" name="Shape 1093"/>
            <p:cNvSpPr/>
            <p:nvPr/>
          </p:nvSpPr>
          <p:spPr>
            <a:xfrm>
              <a:off x="7103415" y="3917114"/>
              <a:ext cx="1132424" cy="983550"/>
            </a:xfrm>
            <a:custGeom>
              <a:avLst/>
              <a:gdLst/>
              <a:ahLst/>
              <a:cxnLst/>
              <a:rect l="0" t="0" r="0" b="0"/>
              <a:pathLst>
                <a:path w="464" h="403" extrusionOk="0">
                  <a:moveTo>
                    <a:pt x="0" y="403"/>
                  </a:moveTo>
                  <a:lnTo>
                    <a:pt x="232" y="0"/>
                  </a:lnTo>
                  <a:lnTo>
                    <a:pt x="464" y="403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4" name="Shape 1094"/>
            <p:cNvSpPr/>
            <p:nvPr/>
          </p:nvSpPr>
          <p:spPr>
            <a:xfrm>
              <a:off x="7669627" y="3917114"/>
              <a:ext cx="1129983" cy="983550"/>
            </a:xfrm>
            <a:custGeom>
              <a:avLst/>
              <a:gdLst/>
              <a:ahLst/>
              <a:cxnLst/>
              <a:rect l="0" t="0" r="0" b="0"/>
              <a:pathLst>
                <a:path w="463" h="403" extrusionOk="0">
                  <a:moveTo>
                    <a:pt x="463" y="0"/>
                  </a:moveTo>
                  <a:lnTo>
                    <a:pt x="232" y="403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5" name="Shape 1095"/>
            <p:cNvSpPr/>
            <p:nvPr/>
          </p:nvSpPr>
          <p:spPr>
            <a:xfrm>
              <a:off x="8235839" y="3917114"/>
              <a:ext cx="1129983" cy="983550"/>
            </a:xfrm>
            <a:custGeom>
              <a:avLst/>
              <a:gdLst/>
              <a:ahLst/>
              <a:cxnLst/>
              <a:rect l="0" t="0" r="0" b="0"/>
              <a:pathLst>
                <a:path w="463" h="403" extrusionOk="0">
                  <a:moveTo>
                    <a:pt x="0" y="403"/>
                  </a:moveTo>
                  <a:lnTo>
                    <a:pt x="231" y="0"/>
                  </a:lnTo>
                  <a:lnTo>
                    <a:pt x="463" y="403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6" name="Shape 1096"/>
            <p:cNvSpPr/>
            <p:nvPr/>
          </p:nvSpPr>
          <p:spPr>
            <a:xfrm>
              <a:off x="8799609" y="3917114"/>
              <a:ext cx="1132424" cy="983550"/>
            </a:xfrm>
            <a:custGeom>
              <a:avLst/>
              <a:gdLst/>
              <a:ahLst/>
              <a:cxnLst/>
              <a:rect l="0" t="0" r="0" b="0"/>
              <a:pathLst>
                <a:path w="464" h="403" extrusionOk="0">
                  <a:moveTo>
                    <a:pt x="464" y="0"/>
                  </a:moveTo>
                  <a:lnTo>
                    <a:pt x="232" y="403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Shape 1097"/>
            <p:cNvSpPr/>
            <p:nvPr/>
          </p:nvSpPr>
          <p:spPr>
            <a:xfrm>
              <a:off x="9365821" y="3917114"/>
              <a:ext cx="1129983" cy="983550"/>
            </a:xfrm>
            <a:custGeom>
              <a:avLst/>
              <a:gdLst/>
              <a:ahLst/>
              <a:cxnLst/>
              <a:rect l="0" t="0" r="0" b="0"/>
              <a:pathLst>
                <a:path w="463" h="403" extrusionOk="0">
                  <a:moveTo>
                    <a:pt x="0" y="403"/>
                  </a:moveTo>
                  <a:lnTo>
                    <a:pt x="232" y="0"/>
                  </a:lnTo>
                  <a:lnTo>
                    <a:pt x="463" y="403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Shape 1098"/>
            <p:cNvSpPr/>
            <p:nvPr/>
          </p:nvSpPr>
          <p:spPr>
            <a:xfrm>
              <a:off x="4843448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9" name="Shape 1099"/>
            <p:cNvSpPr/>
            <p:nvPr/>
          </p:nvSpPr>
          <p:spPr>
            <a:xfrm>
              <a:off x="5407219" y="4900662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0" name="Shape 1100"/>
            <p:cNvSpPr/>
            <p:nvPr/>
          </p:nvSpPr>
          <p:spPr>
            <a:xfrm>
              <a:off x="5973431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" name="Shape 1101"/>
            <p:cNvSpPr/>
            <p:nvPr/>
          </p:nvSpPr>
          <p:spPr>
            <a:xfrm>
              <a:off x="6539643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Shape 1102"/>
            <p:cNvSpPr/>
            <p:nvPr/>
          </p:nvSpPr>
          <p:spPr>
            <a:xfrm>
              <a:off x="7669627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3" name="Shape 1103"/>
            <p:cNvSpPr/>
            <p:nvPr/>
          </p:nvSpPr>
          <p:spPr>
            <a:xfrm>
              <a:off x="8235839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4" name="Shape 1104"/>
            <p:cNvSpPr/>
            <p:nvPr/>
          </p:nvSpPr>
          <p:spPr>
            <a:xfrm>
              <a:off x="9365821" y="4900662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5" name="Shape 1105"/>
            <p:cNvSpPr/>
            <p:nvPr/>
          </p:nvSpPr>
          <p:spPr>
            <a:xfrm>
              <a:off x="4843448" y="587933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" name="Shape 1106"/>
            <p:cNvSpPr/>
            <p:nvPr/>
          </p:nvSpPr>
          <p:spPr>
            <a:xfrm>
              <a:off x="5407219" y="587933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Shape 1107"/>
            <p:cNvSpPr/>
            <p:nvPr/>
          </p:nvSpPr>
          <p:spPr>
            <a:xfrm>
              <a:off x="6539643" y="587933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1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Shape 1108"/>
            <p:cNvSpPr/>
            <p:nvPr/>
          </p:nvSpPr>
          <p:spPr>
            <a:xfrm>
              <a:off x="7103415" y="587933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4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9" name="Shape 1109"/>
            <p:cNvSpPr/>
            <p:nvPr/>
          </p:nvSpPr>
          <p:spPr>
            <a:xfrm>
              <a:off x="7669627" y="587933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463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3" y="0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0" name="Shape 1110"/>
            <p:cNvSpPr/>
            <p:nvPr/>
          </p:nvSpPr>
          <p:spPr>
            <a:xfrm>
              <a:off x="8235839" y="587933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1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1" name="Shape 1111"/>
            <p:cNvSpPr/>
            <p:nvPr/>
          </p:nvSpPr>
          <p:spPr>
            <a:xfrm>
              <a:off x="8799609" y="5879331"/>
              <a:ext cx="1132424" cy="978669"/>
            </a:xfrm>
            <a:custGeom>
              <a:avLst/>
              <a:gdLst/>
              <a:ahLst/>
              <a:cxnLst/>
              <a:rect l="0" t="0" r="0" b="0"/>
              <a:pathLst>
                <a:path w="464" h="401" extrusionOk="0">
                  <a:moveTo>
                    <a:pt x="464" y="0"/>
                  </a:moveTo>
                  <a:lnTo>
                    <a:pt x="232" y="401"/>
                  </a:lnTo>
                  <a:lnTo>
                    <a:pt x="0" y="0"/>
                  </a:lnTo>
                  <a:lnTo>
                    <a:pt x="464" y="0"/>
                  </a:lnTo>
                  <a:close/>
                </a:path>
              </a:pathLst>
            </a:custGeom>
            <a:solidFill>
              <a:schemeClr val="dk2">
                <a:alpha val="9803"/>
              </a:scheme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2" name="Shape 1112"/>
            <p:cNvSpPr/>
            <p:nvPr/>
          </p:nvSpPr>
          <p:spPr>
            <a:xfrm>
              <a:off x="9365821" y="5879331"/>
              <a:ext cx="1129983" cy="978669"/>
            </a:xfrm>
            <a:custGeom>
              <a:avLst/>
              <a:gdLst/>
              <a:ahLst/>
              <a:cxnLst/>
              <a:rect l="0" t="0" r="0" b="0"/>
              <a:pathLst>
                <a:path w="463" h="401" extrusionOk="0">
                  <a:moveTo>
                    <a:pt x="0" y="401"/>
                  </a:moveTo>
                  <a:lnTo>
                    <a:pt x="232" y="0"/>
                  </a:lnTo>
                  <a:lnTo>
                    <a:pt x="463" y="401"/>
                  </a:lnTo>
                  <a:lnTo>
                    <a:pt x="0" y="401"/>
                  </a:lnTo>
                  <a:close/>
                </a:path>
              </a:pathLst>
            </a:custGeom>
            <a:solidFill>
              <a:srgbClr val="C9C9C9">
                <a:alpha val="14901"/>
              </a:srgbClr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3" name="Shape 1113"/>
          <p:cNvSpPr txBox="1"/>
          <p:nvPr/>
        </p:nvSpPr>
        <p:spPr>
          <a:xfrm>
            <a:off x="1881035" y="4619115"/>
            <a:ext cx="7632218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43A87"/>
              </a:buClr>
              <a:buSzPts val="2800"/>
              <a:buFont typeface="Arial"/>
              <a:buNone/>
            </a:pPr>
            <a:r>
              <a:rPr lang="es-PE" sz="2800" b="1" dirty="0" smtClean="0">
                <a:solidFill>
                  <a:srgbClr val="843A87"/>
                </a:solidFill>
              </a:rPr>
              <a:t>Modelo Caída de P$P</a:t>
            </a:r>
            <a:endParaRPr sz="2800" b="1" i="0" u="none" strike="noStrike" cap="none" dirty="0">
              <a:solidFill>
                <a:srgbClr val="843A8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" name="Shape 1114"/>
          <p:cNvSpPr txBox="1"/>
          <p:nvPr/>
        </p:nvSpPr>
        <p:spPr>
          <a:xfrm>
            <a:off x="1928913" y="5392227"/>
            <a:ext cx="2046394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1350"/>
              <a:buFont typeface="Arial"/>
              <a:buNone/>
            </a:pPr>
            <a:r>
              <a:rPr lang="es-PE" sz="1350" b="0" i="0" u="none" strike="noStrike" cap="none" dirty="0" smtClean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Abril </a:t>
            </a:r>
            <a:r>
              <a:rPr lang="es-PE" sz="1350" b="0" i="0" u="none" strike="noStrike" cap="none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2018</a:t>
            </a:r>
            <a:endParaRPr sz="1350" b="0" i="0" u="none" strike="noStrike" cap="none" dirty="0">
              <a:solidFill>
                <a:srgbClr val="A5A5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15" name="Shape 1115"/>
          <p:cNvCxnSpPr/>
          <p:nvPr/>
        </p:nvCxnSpPr>
        <p:spPr>
          <a:xfrm>
            <a:off x="2001429" y="5299890"/>
            <a:ext cx="2174834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16" name="Shape 1116" descr="Resultado de imagen para logo Belcorp 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64645" y="911379"/>
            <a:ext cx="3698795" cy="27662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fade thruBlk="1"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>
                <a:latin typeface="+mj-lt"/>
              </a:rPr>
              <a:t>Variables Independientes</a:t>
            </a:r>
            <a:endParaRPr lang="es-PE" sz="2800" b="1" dirty="0">
              <a:latin typeface="+mj-lt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379176"/>
              </p:ext>
            </p:extLst>
          </p:nvPr>
        </p:nvGraphicFramePr>
        <p:xfrm>
          <a:off x="678873" y="1319255"/>
          <a:ext cx="11091285" cy="45962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94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94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221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02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844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riabl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mb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scripció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jemplo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3060"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Pedidos en ultimas campaña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Cantidad de campañas que ha pasado pedido en ultimas 18 campaña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30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Decil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existen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En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qué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decil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s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úbic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en el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interval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las 7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hace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un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añ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NUL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Decil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anterio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En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qué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decil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s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ubic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en la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ampaña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anterio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Var.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Marca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ategoría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Tip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Promedio de variación entre la de las últimas dos campaña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u="none" strike="noStrike">
                          <a:effectLst/>
                          <a:latin typeface="+mj-lt"/>
                        </a:rPr>
                        <a:t>-3.40%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689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Var. Precio Promedio Unitario (PPU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Promedi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variación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l PPU entre el de las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últimas</a:t>
                      </a:r>
                      <a:r>
                        <a:rPr lang="en-US" sz="12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tres</a:t>
                      </a:r>
                      <a:r>
                        <a:rPr lang="en-US" sz="12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u="none" strike="noStrike">
                          <a:effectLst/>
                          <a:latin typeface="+mj-lt"/>
                        </a:rPr>
                        <a:t>-2.20%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Var. unidades por pedido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Promedi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variación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200" u="none" strike="noStrike" dirty="0" smtClean="0">
                          <a:effectLst/>
                          <a:latin typeface="+mj-lt"/>
                        </a:rPr>
                        <a:t>PUP 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entre las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últimas</a:t>
                      </a:r>
                      <a:r>
                        <a:rPr lang="en-US" sz="12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tres</a:t>
                      </a:r>
                      <a:r>
                        <a:rPr lang="en-US" sz="1200" u="none" strike="noStrike" baseline="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u="none" strike="noStrike">
                          <a:effectLst/>
                          <a:latin typeface="+mj-lt"/>
                        </a:rPr>
                        <a:t>2%</a:t>
                      </a:r>
                      <a:endParaRPr lang="mr-IN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IP Unic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La consultora fue IPUnico en la campaña anterio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200" u="none" strike="noStrike">
                          <a:effectLst/>
                          <a:latin typeface="+mj-lt"/>
                        </a:rPr>
                        <a:t>0, 1</a:t>
                      </a:r>
                      <a:endParaRPr lang="fi-FI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Palancas Digital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En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uant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, de las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tres</a:t>
                      </a:r>
                      <a:r>
                        <a:rPr lang="en-US" sz="12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 smtClean="0">
                          <a:effectLst/>
                          <a:latin typeface="+mj-lt"/>
                        </a:rPr>
                        <a:t>ultim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uso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palanca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digital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  <a:latin typeface="+mj-lt"/>
                        </a:rPr>
                        <a:t>0, 1, 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CodComportamientoRoll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gmento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e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la </a:t>
                      </a:r>
                      <a:r>
                        <a:rPr lang="en-US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sulto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696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Edad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la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onsulto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uál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es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la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edad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de la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consultora</a:t>
                      </a:r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a la </a:t>
                      </a:r>
                      <a:r>
                        <a:rPr lang="en-US" sz="1200" u="none" strike="noStrike" dirty="0" err="1">
                          <a:effectLst/>
                          <a:latin typeface="+mj-lt"/>
                        </a:rPr>
                        <a:t>fech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u="none" strike="noStrike" dirty="0">
                          <a:effectLst/>
                          <a:latin typeface="+mj-lt"/>
                        </a:rPr>
                        <a:t>28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911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>
                <a:latin typeface="+mj-lt"/>
              </a:rPr>
              <a:t>Variable Objetivo</a:t>
            </a:r>
            <a:endParaRPr lang="es-PE" sz="2800" b="1" dirty="0">
              <a:latin typeface="+mj-lt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426418"/>
              </p:ext>
            </p:extLst>
          </p:nvPr>
        </p:nvGraphicFramePr>
        <p:xfrm>
          <a:off x="560003" y="1452274"/>
          <a:ext cx="11376024" cy="14112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9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8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40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567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81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riabl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mbr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scripció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jemplo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1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bjetiv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err="1" smtClean="0">
                          <a:effectLst/>
                          <a:latin typeface="+mj-lt"/>
                        </a:rPr>
                        <a:t>Variación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p$p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vs 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2 </a:t>
                      </a:r>
                      <a:r>
                        <a:rPr lang="en-US" sz="1400" u="none" strike="noStrike" dirty="0" err="1" smtClean="0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400" u="none" strike="noStrike" dirty="0" err="1" smtClean="0">
                          <a:effectLst/>
                          <a:latin typeface="+mj-lt"/>
                        </a:rPr>
                        <a:t>anterior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marL="228600" indent="-228600" algn="ctr" fontAlgn="b">
                        <a:buFont typeface="+mj-lt"/>
                        <a:buAutoNum type="arabicPeriod"/>
                      </a:pP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Diferencia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con un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margen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mayor a 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10% 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l 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P$P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400" u="none" strike="noStrike" baseline="0" dirty="0" err="1" smtClean="0">
                          <a:effectLst/>
                          <a:latin typeface="+mj-lt"/>
                        </a:rPr>
                        <a:t>hace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2 </a:t>
                      </a:r>
                      <a:r>
                        <a:rPr lang="en-US" sz="1400" u="none" strike="noStrike" baseline="0" dirty="0" err="1" smtClean="0">
                          <a:effectLst/>
                          <a:latin typeface="+mj-lt"/>
                        </a:rPr>
                        <a:t>campañas</a:t>
                      </a:r>
                      <a:endParaRPr lang="en-US" sz="1400" u="none" strike="noStrike" baseline="0" dirty="0" smtClean="0">
                        <a:effectLst/>
                        <a:latin typeface="+mj-lt"/>
                      </a:endParaRPr>
                    </a:p>
                    <a:p>
                      <a:pPr marL="228600" indent="-228600" algn="ctr" fontAlgn="b">
                        <a:buFont typeface="+mj-lt"/>
                        <a:buAutoNum type="arabicPeriod"/>
                      </a:pP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P$P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de 3 </a:t>
                      </a:r>
                      <a:r>
                        <a:rPr lang="en-US" sz="1400" u="none" strike="noStrike" baseline="0" dirty="0" err="1" smtClean="0">
                          <a:effectLst/>
                          <a:latin typeface="+mj-lt"/>
                        </a:rPr>
                        <a:t>campañas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US" sz="1400" u="none" strike="noStrike" baseline="0" dirty="0" err="1" smtClean="0">
                          <a:effectLst/>
                          <a:latin typeface="+mj-lt"/>
                        </a:rPr>
                        <a:t>es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mayor al P$P de la </a:t>
                      </a:r>
                      <a:r>
                        <a:rPr lang="en-US" sz="1400" u="none" strike="noStrike" baseline="0" dirty="0" err="1" smtClean="0">
                          <a:effectLst/>
                          <a:latin typeface="+mj-lt"/>
                        </a:rPr>
                        <a:t>campaña</a:t>
                      </a:r>
                      <a:r>
                        <a:rPr lang="en-US" sz="1400" u="none" strike="noStrike" baseline="0" dirty="0" smtClean="0">
                          <a:effectLst/>
                          <a:latin typeface="+mj-lt"/>
                        </a:rPr>
                        <a:t> actual</a:t>
                      </a:r>
                      <a:endParaRPr lang="en-US" sz="1400" u="none" strike="noStrike" dirty="0" smtClean="0">
                        <a:effectLst/>
                        <a:latin typeface="+mj-lt"/>
                      </a:endParaRPr>
                    </a:p>
                    <a:p>
                      <a:pPr marL="171450" indent="-171450" algn="ctr" fontAlgn="b">
                        <a:buFont typeface="Arial" charset="0"/>
                        <a:buChar char="•"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: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cayó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más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de </a:t>
                      </a:r>
                      <a:r>
                        <a:rPr lang="en-US" sz="1400" u="none" strike="noStrike" dirty="0" smtClean="0">
                          <a:effectLst/>
                          <a:latin typeface="+mj-lt"/>
                        </a:rPr>
                        <a:t>10%, 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: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neutro</a:t>
                      </a:r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o </a:t>
                      </a:r>
                      <a:r>
                        <a:rPr lang="en-US" sz="1400" u="none" strike="noStrike" dirty="0" err="1">
                          <a:effectLst/>
                          <a:latin typeface="+mj-lt"/>
                        </a:rPr>
                        <a:t>positiv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85" marR="6285" marT="628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2150134" y="3325953"/>
            <a:ext cx="728786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9287079" y="3250492"/>
            <a:ext cx="150921" cy="150921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Oval 7"/>
          <p:cNvSpPr/>
          <p:nvPr/>
        </p:nvSpPr>
        <p:spPr>
          <a:xfrm>
            <a:off x="7678986" y="3250492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Oval 8"/>
          <p:cNvSpPr/>
          <p:nvPr/>
        </p:nvSpPr>
        <p:spPr>
          <a:xfrm>
            <a:off x="6569769" y="3250492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Oval 9"/>
          <p:cNvSpPr/>
          <p:nvPr/>
        </p:nvSpPr>
        <p:spPr>
          <a:xfrm>
            <a:off x="5460553" y="3250491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TextBox 11"/>
          <p:cNvSpPr txBox="1"/>
          <p:nvPr/>
        </p:nvSpPr>
        <p:spPr>
          <a:xfrm>
            <a:off x="7569300" y="3401412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800" b="1" dirty="0" smtClean="0">
                <a:solidFill>
                  <a:srgbClr val="FF0000"/>
                </a:solidFill>
                <a:latin typeface="Apple Chancery" charset="0"/>
                <a:ea typeface="Apple Chancery" charset="0"/>
                <a:cs typeface="Apple Chancery" charset="0"/>
              </a:rPr>
              <a:t>x</a:t>
            </a:r>
            <a:endParaRPr lang="es-ES_tradnl" sz="1800" b="1" dirty="0">
              <a:solidFill>
                <a:srgbClr val="FF0000"/>
              </a:solidFill>
              <a:latin typeface="Apple Chancery" charset="0"/>
              <a:ea typeface="Apple Chancery" charset="0"/>
              <a:cs typeface="Apple Chancery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88413" y="3449645"/>
            <a:ext cx="529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smtClean="0">
                <a:latin typeface="Apple Chancery" charset="0"/>
                <a:ea typeface="Apple Chancery" charset="0"/>
                <a:cs typeface="Apple Chancery" charset="0"/>
              </a:rPr>
              <a:t>X-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71357" y="3449645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 smtClean="0">
                <a:latin typeface="Apple Chancery" charset="0"/>
                <a:ea typeface="Apple Chancery" charset="0"/>
                <a:cs typeface="Apple Chancery" charset="0"/>
              </a:rPr>
              <a:t>X-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083456" y="3430232"/>
            <a:ext cx="603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 smtClean="0">
                <a:latin typeface="Apple Chancery" charset="0"/>
                <a:ea typeface="Apple Chancery" charset="0"/>
                <a:cs typeface="Apple Chancery" charset="0"/>
              </a:rPr>
              <a:t>X+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7013693" y="4147218"/>
                <a:ext cx="296850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charset="0"/>
                            </a:rPr>
                            <m:t>𝑉𝑒𝑛𝑡𝑎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charset="0"/>
                            </a:rPr>
                            <m:t>𝑥</m:t>
                          </m:r>
                          <m:r>
                            <a:rPr lang="en-US" sz="1800" b="0" i="1" smtClean="0">
                              <a:latin typeface="Cambria Math" charset="0"/>
                            </a:rPr>
                            <m:t>+2</m:t>
                          </m:r>
                        </m:sub>
                      </m:sSub>
                      <m:r>
                        <a:rPr lang="en-US" sz="1800" i="1">
                          <a:latin typeface="Cambria Math" charset="0"/>
                          <a:ea typeface="Cambria Math" charset="0"/>
                          <a:cs typeface="Cambria Math" charset="0"/>
                        </a:rPr>
                        <m:t>≤</m:t>
                      </m:r>
                      <m:r>
                        <a:rPr lang="en-US" sz="1800" b="0" i="1" smtClean="0">
                          <a:latin typeface="Cambria Math" charset="0"/>
                          <a:ea typeface="Cambria Math" charset="0"/>
                          <a:cs typeface="Cambria Math" charset="0"/>
                        </a:rPr>
                        <m:t>0.9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ea typeface="Cambria Math" charset="0"/>
                              <a:cs typeface="Cambria Math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𝑉𝑒𝑛𝑡𝑎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charset="0"/>
                              <a:ea typeface="Cambria Math" charset="0"/>
                              <a:cs typeface="Cambria Math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es-ES_tradnl" sz="18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3693" y="4147218"/>
                <a:ext cx="2968507" cy="276999"/>
              </a:xfrm>
              <a:prstGeom prst="rect">
                <a:avLst/>
              </a:prstGeom>
              <a:blipFill rotWithShape="0">
                <a:blip r:embed="rId3"/>
                <a:stretch>
                  <a:fillRect b="-17391"/>
                </a:stretch>
              </a:blipFill>
            </p:spPr>
            <p:txBody>
              <a:bodyPr/>
              <a:lstStyle/>
              <a:p>
                <a:r>
                  <a:rPr lang="es-ES_trad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4565651" y="4805974"/>
                <a:ext cx="4896084" cy="2779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latin typeface="Cambria Math" charset="0"/>
                        </a:rPr>
                        <m:t>𝑃𝑟𝑜𝑚</m:t>
                      </m:r>
                      <m:d>
                        <m:d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𝑉𝑒𝑛𝑡𝑎𝑠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𝑥</m:t>
                              </m:r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−2</m:t>
                              </m:r>
                            </m:sub>
                          </m:sSub>
                          <m:r>
                            <a:rPr lang="en-US" sz="1600" b="0" i="1" smtClean="0">
                              <a:latin typeface="Cambria Math" charset="0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𝑉𝑒𝑛𝑡𝑎𝑠</m:t>
                              </m:r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 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𝑥</m:t>
                              </m:r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−1,  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𝑉𝑒𝑛𝑡𝑎𝑠</m:t>
                              </m:r>
                            </m:e>
                            <m:sub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𝑥</m:t>
                              </m:r>
                              <m:r>
                                <a:rPr lang="en-US" sz="1600" b="0" i="1" smtClean="0">
                                  <a:latin typeface="Cambria Math" charset="0"/>
                                </a:rPr>
                                <m:t>−2</m:t>
                              </m:r>
                            </m:sub>
                          </m:sSub>
                        </m:e>
                      </m:d>
                      <m:r>
                        <a:rPr lang="en-US" sz="1600" b="0" i="1" smtClean="0">
                          <a:latin typeface="Cambria Math" charset="0"/>
                        </a:rPr>
                        <m:t>&gt;</m:t>
                      </m:r>
                      <m:sSub>
                        <m:sSubPr>
                          <m:ctrlPr>
                            <a:rPr lang="en-US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latin typeface="Cambria Math" charset="0"/>
                            </a:rPr>
                            <m:t>𝑉𝑒𝑛𝑡𝑎𝑠</m:t>
                          </m:r>
                        </m:e>
                        <m:sub>
                          <m:r>
                            <a:rPr lang="en-US" sz="1600" b="0" i="1" smtClean="0">
                              <a:latin typeface="Cambria Math" charset="0"/>
                            </a:rPr>
                            <m:t>𝑥</m:t>
                          </m:r>
                          <m:r>
                            <a:rPr lang="en-US" sz="1600" b="0" i="1" smtClean="0">
                              <a:latin typeface="Cambria Math" charset="0"/>
                            </a:rPr>
                            <m:t>+2</m:t>
                          </m:r>
                        </m:sub>
                      </m:sSub>
                    </m:oMath>
                  </m:oMathPara>
                </a14:m>
                <a:endParaRPr lang="es-ES_tradnl" sz="1600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65651" y="4805974"/>
                <a:ext cx="4896084" cy="277961"/>
              </a:xfrm>
              <a:prstGeom prst="rect">
                <a:avLst/>
              </a:prstGeom>
              <a:blipFill rotWithShape="0">
                <a:blip r:embed="rId4"/>
                <a:stretch>
                  <a:fillRect l="-374" t="-115217" b="-150000"/>
                </a:stretch>
              </a:blipFill>
            </p:spPr>
            <p:txBody>
              <a:bodyPr/>
              <a:lstStyle/>
              <a:p>
                <a:r>
                  <a:rPr lang="es-ES_trad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6060958" y="4131828"/>
            <a:ext cx="1184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1)</a:t>
            </a:r>
            <a:endParaRPr lang="es-ES_tradnl" dirty="0"/>
          </a:p>
        </p:txBody>
      </p:sp>
      <p:sp>
        <p:nvSpPr>
          <p:cNvPr id="20" name="TextBox 19"/>
          <p:cNvSpPr txBox="1"/>
          <p:nvPr/>
        </p:nvSpPr>
        <p:spPr>
          <a:xfrm>
            <a:off x="3150433" y="4776158"/>
            <a:ext cx="1184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/>
              <a:t>2</a:t>
            </a:r>
            <a:r>
              <a:rPr lang="es-ES_tradnl" dirty="0" smtClean="0"/>
              <a:t>)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7160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3" name="Shape 1333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4" name="Shape 1334"/>
          <p:cNvSpPr txBox="1"/>
          <p:nvPr/>
        </p:nvSpPr>
        <p:spPr>
          <a:xfrm>
            <a:off x="203513" y="3884531"/>
            <a:ext cx="8534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</a:pPr>
            <a:r>
              <a:rPr lang="es-PE" sz="4400" b="0" i="0" u="none" strike="noStrike" cap="none" smtClean="0">
                <a:solidFill>
                  <a:schemeClr val="lt1"/>
                </a:solidFill>
                <a:latin typeface="+mj-lt"/>
                <a:ea typeface="Raleway"/>
                <a:cs typeface="Raleway"/>
                <a:sym typeface="Raleway"/>
              </a:rPr>
              <a:t>Dataset</a:t>
            </a:r>
            <a:endParaRPr sz="4400" b="0" i="0" u="none" strike="noStrike" cap="none" dirty="0">
              <a:solidFill>
                <a:schemeClr val="lt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>
                <a:latin typeface="+mj-lt"/>
              </a:rPr>
              <a:t>Flujo de Datos</a:t>
            </a:r>
            <a:endParaRPr lang="es-PE" sz="2800" b="1" dirty="0">
              <a:latin typeface="+mj-lt"/>
            </a:endParaRPr>
          </a:p>
        </p:txBody>
      </p:sp>
      <p:pic>
        <p:nvPicPr>
          <p:cNvPr id="21" name="Shape 1503" descr="Resultado de imagen para database icons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1703" y="2774739"/>
            <a:ext cx="1258907" cy="125890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Shape 150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71704" y="4033646"/>
            <a:ext cx="1258906" cy="75535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4369733" y="3389438"/>
            <a:ext cx="4671472" cy="1021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s-ES_tradnl" dirty="0" smtClean="0"/>
              <a:t>Consultas al DWH_ANALITICO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s-ES_tradnl" dirty="0" smtClean="0"/>
              <a:t>Armado de tablas temporales (1 por variable </a:t>
            </a:r>
            <a:r>
              <a:rPr lang="es-ES_tradnl" dirty="0" err="1" smtClean="0"/>
              <a:t>aprox</a:t>
            </a:r>
            <a:r>
              <a:rPr lang="es-ES_tradnl" dirty="0" smtClean="0"/>
              <a:t>)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es-ES_tradnl" dirty="0" smtClean="0"/>
              <a:t>Store como tabla física para ser jalada desde Pytho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69003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3" name="Shape 1333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4" name="Shape 1334"/>
          <p:cNvSpPr txBox="1"/>
          <p:nvPr/>
        </p:nvSpPr>
        <p:spPr>
          <a:xfrm>
            <a:off x="203513" y="3884531"/>
            <a:ext cx="8534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</a:pPr>
            <a:r>
              <a:rPr lang="es-PE" sz="4400" b="0" i="0" u="none" strike="noStrike" cap="none" dirty="0" smtClean="0">
                <a:solidFill>
                  <a:schemeClr val="lt1"/>
                </a:solidFill>
                <a:latin typeface="+mj-lt"/>
                <a:ea typeface="Raleway"/>
                <a:cs typeface="Raleway"/>
                <a:sym typeface="Raleway"/>
              </a:rPr>
              <a:t>Python Notebook</a:t>
            </a:r>
            <a:endParaRPr sz="4400" b="0" i="0" u="none" strike="noStrike" cap="none" dirty="0">
              <a:solidFill>
                <a:schemeClr val="lt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855512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r>
              <a:rPr lang="es-PE" sz="2800" b="1" dirty="0" smtClean="0">
                <a:latin typeface="+mj-lt"/>
              </a:rPr>
              <a:t>Notebook</a:t>
            </a:r>
            <a:endParaRPr lang="es-PE" sz="2800" b="1" dirty="0">
              <a:latin typeface="+mj-lt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42892" y="1539388"/>
            <a:ext cx="1079685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3 seccion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 smtClean="0"/>
          </a:p>
          <a:p>
            <a:pPr marL="342900" indent="-342900" algn="just">
              <a:buFont typeface="+mj-lt"/>
              <a:buAutoNum type="arabicPeriod"/>
            </a:pPr>
            <a:r>
              <a:rPr lang="es-ES" dirty="0" smtClean="0"/>
              <a:t>  Pre procesamiento de los datos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s-ES" dirty="0" smtClean="0"/>
              <a:t>  Visualización de los datos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s-ES" dirty="0"/>
              <a:t> </a:t>
            </a:r>
            <a:r>
              <a:rPr lang="es-ES" dirty="0" smtClean="0"/>
              <a:t> Aplicación de modelos predictivos (con métricas)</a:t>
            </a:r>
            <a:endParaRPr lang="es-PE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7187" y="3600116"/>
            <a:ext cx="9753600" cy="2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53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6" name="Shape 1746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5</a:t>
            </a:fld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7" name="Shape 1747"/>
          <p:cNvSpPr txBox="1"/>
          <p:nvPr/>
        </p:nvSpPr>
        <p:spPr>
          <a:xfrm>
            <a:off x="203513" y="3884531"/>
            <a:ext cx="8534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</a:pPr>
            <a:r>
              <a:rPr lang="es-PE" sz="4400" b="0" i="0" u="none" strike="noStrike" cap="none" dirty="0" smtClean="0">
                <a:solidFill>
                  <a:schemeClr val="lt1"/>
                </a:solidFill>
                <a:latin typeface="+mj-lt"/>
                <a:ea typeface="Raleway"/>
                <a:cs typeface="Raleway"/>
                <a:sym typeface="Raleway"/>
              </a:rPr>
              <a:t>Feedback y discusión</a:t>
            </a:r>
            <a:endParaRPr sz="4400" b="0" i="0" u="none" strike="noStrike" cap="none" dirty="0">
              <a:solidFill>
                <a:schemeClr val="lt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641033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70241" y="0"/>
            <a:ext cx="1818174" cy="997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923B6-91FF-264B-AEC2-15E18E33A1D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1 Título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7130" y="344956"/>
            <a:ext cx="8474075" cy="533403"/>
          </a:xfrm>
        </p:spPr>
        <p:txBody>
          <a:bodyPr>
            <a:noAutofit/>
          </a:bodyPr>
          <a:lstStyle/>
          <a:p>
            <a:endParaRPr lang="es-PE" sz="2800" b="1" dirty="0">
              <a:latin typeface="+mj-lt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42893" y="1539388"/>
            <a:ext cx="4543704" cy="138499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s-PE" b="1" dirty="0" smtClean="0"/>
              <a:t>Problem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Creen que está bien planteado el problema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Permite llegar a insights que usaría Belcorp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El horizonte de tiempo está bien elegido?</a:t>
            </a:r>
            <a:endParaRPr lang="es-P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7" name="CuadroTexto 7"/>
          <p:cNvSpPr txBox="1"/>
          <p:nvPr/>
        </p:nvSpPr>
        <p:spPr>
          <a:xfrm>
            <a:off x="567130" y="3585412"/>
            <a:ext cx="4543704" cy="16004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s-PE" b="1" dirty="0" smtClean="0"/>
              <a:t>Variabl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Qué variables quitarían/agregarían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Creen que la elección de variables captura el fenómeno que se trata de medir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Con quiénes creen que podría hablar para validar las variables a incluir? </a:t>
            </a:r>
          </a:p>
        </p:txBody>
      </p:sp>
      <p:sp>
        <p:nvSpPr>
          <p:cNvPr id="10" name="CuadroTexto 7"/>
          <p:cNvSpPr txBox="1"/>
          <p:nvPr/>
        </p:nvSpPr>
        <p:spPr>
          <a:xfrm>
            <a:off x="6769353" y="1323944"/>
            <a:ext cx="4543704" cy="203132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s-PE" b="1" dirty="0" smtClean="0"/>
              <a:t>Datase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Está bien cómo estoy acotando las consultoras a analizar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Mantengo ciertas variables como “requisito” para entrar al análisis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Pruebo por país? (o zona, conjunto de países, etc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12" name="CuadroTexto 7"/>
          <p:cNvSpPr txBox="1"/>
          <p:nvPr/>
        </p:nvSpPr>
        <p:spPr>
          <a:xfrm>
            <a:off x="7206566" y="3681548"/>
            <a:ext cx="4543704" cy="16004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s-PE" b="1" dirty="0" smtClean="0"/>
              <a:t>Técnica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Cuál creen que es la más estable para seguir probando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Cuál nueva podría probar?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es-PE" dirty="0" smtClean="0"/>
              <a:t>¿Lo mantengo como problema de clasificación o intento predecir % de caída?</a:t>
            </a:r>
          </a:p>
        </p:txBody>
      </p:sp>
    </p:spTree>
    <p:extLst>
      <p:ext uri="{BB962C8B-B14F-4D97-AF65-F5344CB8AC3E}">
        <p14:creationId xmlns:p14="http://schemas.microsoft.com/office/powerpoint/2010/main" val="68394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7" name="Shape 1937"/>
          <p:cNvSpPr txBox="1">
            <a:spLocks noGrp="1"/>
          </p:cNvSpPr>
          <p:nvPr>
            <p:ph type="sldNum" idx="12"/>
          </p:nvPr>
        </p:nvSpPr>
        <p:spPr>
          <a:xfrm>
            <a:off x="11472599" y="6604622"/>
            <a:ext cx="52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fld id="{00000000-1234-1234-1234-123412341234}" type="slidenum">
              <a:rPr lang="es-PE"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sz="7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38" name="Shape 19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28600" y="0"/>
            <a:ext cx="12649193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152"/>
          <p:cNvSpPr txBox="1"/>
          <p:nvPr/>
        </p:nvSpPr>
        <p:spPr>
          <a:xfrm>
            <a:off x="5538118" y="878887"/>
            <a:ext cx="11095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2100" dirty="0" smtClean="0">
                <a:latin typeface="+mj-lt"/>
              </a:rPr>
              <a:t>Agenda</a:t>
            </a:r>
            <a:endParaRPr lang="id-ID" sz="2100" dirty="0">
              <a:latin typeface="+mj-lt"/>
            </a:endParaRPr>
          </a:p>
        </p:txBody>
      </p:sp>
      <p:cxnSp>
        <p:nvCxnSpPr>
          <p:cNvPr id="36" name="Straight Connector 153"/>
          <p:cNvCxnSpPr/>
          <p:nvPr/>
        </p:nvCxnSpPr>
        <p:spPr>
          <a:xfrm>
            <a:off x="5147912" y="1334008"/>
            <a:ext cx="18900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784014658"/>
              </p:ext>
            </p:extLst>
          </p:nvPr>
        </p:nvGraphicFramePr>
        <p:xfrm>
          <a:off x="3312766" y="1634836"/>
          <a:ext cx="5560291" cy="4585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52044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" name="Shape 1136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" name="Shape 1137"/>
          <p:cNvSpPr txBox="1"/>
          <p:nvPr/>
        </p:nvSpPr>
        <p:spPr>
          <a:xfrm>
            <a:off x="203513" y="3884531"/>
            <a:ext cx="8534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</a:pPr>
            <a:r>
              <a:rPr lang="es-PE" sz="4400" b="0" i="0" u="none" strike="noStrike" cap="none" smtClean="0">
                <a:solidFill>
                  <a:schemeClr val="lt1"/>
                </a:solidFill>
                <a:latin typeface="+mj-lt"/>
                <a:ea typeface="Raleway"/>
                <a:cs typeface="Raleway"/>
                <a:sym typeface="Raleway"/>
              </a:rPr>
              <a:t>Argumento del Modelo</a:t>
            </a:r>
            <a:endParaRPr sz="4400" b="0" i="0" u="none" strike="noStrike" cap="none" dirty="0">
              <a:solidFill>
                <a:schemeClr val="lt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" name="Shape 1143"/>
          <p:cNvSpPr/>
          <p:nvPr/>
        </p:nvSpPr>
        <p:spPr>
          <a:xfrm>
            <a:off x="10561625" y="219700"/>
            <a:ext cx="1563600" cy="97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4" name="Shape 1144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fld id="{00000000-1234-1234-1234-123412341234}" type="slidenum">
              <a:rPr lang="es-PE" sz="13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fld>
            <a:endParaRPr sz="13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5" name="Shape 1145"/>
          <p:cNvSpPr txBox="1">
            <a:spLocks noGrp="1"/>
          </p:cNvSpPr>
          <p:nvPr>
            <p:ph type="title" idx="4294967295"/>
          </p:nvPr>
        </p:nvSpPr>
        <p:spPr>
          <a:xfrm>
            <a:off x="360218" y="218151"/>
            <a:ext cx="10403399" cy="640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aleway"/>
              <a:buNone/>
            </a:pPr>
            <a:r>
              <a:rPr lang="es-PE" sz="2400" b="1" i="0" u="none" strike="noStrike" cap="none" smtClean="0">
                <a:solidFill>
                  <a:schemeClr val="dk1"/>
                </a:solidFill>
                <a:latin typeface="+mj-lt"/>
                <a:ea typeface="Raleway"/>
                <a:cs typeface="Raleway"/>
                <a:sym typeface="Raleway"/>
              </a:rPr>
              <a:t>El PMNP está cayendo en todos los países vs año pasado</a:t>
            </a:r>
            <a:endParaRPr sz="2400" b="1" i="0" u="none" strike="noStrike" cap="none" dirty="0">
              <a:solidFill>
                <a:schemeClr val="dk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4945" y="706150"/>
            <a:ext cx="8546523" cy="54435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" name="Shape 1143"/>
          <p:cNvSpPr/>
          <p:nvPr/>
        </p:nvSpPr>
        <p:spPr>
          <a:xfrm>
            <a:off x="10561625" y="219700"/>
            <a:ext cx="1563600" cy="97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4" name="Shape 1144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fld id="{00000000-1234-1234-1234-123412341234}" type="slidenum">
              <a:rPr lang="es-PE" sz="13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endParaRPr sz="13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5" name="Shape 1145"/>
          <p:cNvSpPr txBox="1">
            <a:spLocks noGrp="1"/>
          </p:cNvSpPr>
          <p:nvPr>
            <p:ph type="title" idx="4294967295"/>
          </p:nvPr>
        </p:nvSpPr>
        <p:spPr>
          <a:xfrm>
            <a:off x="360218" y="218151"/>
            <a:ext cx="11430000" cy="640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aleway"/>
              <a:buNone/>
            </a:pPr>
            <a:r>
              <a:rPr lang="es-PE" sz="2000" b="1" dirty="0" smtClean="0">
                <a:latin typeface="+mj-lt"/>
              </a:rPr>
              <a:t>El análisis 2016 vs 2017 demostró que gran parte de la caída se explicaba por las decil 1</a:t>
            </a:r>
            <a:endParaRPr sz="2000" b="1" i="0" u="none" strike="noStrike" cap="none" dirty="0">
              <a:solidFill>
                <a:schemeClr val="dk1"/>
              </a:solidFill>
              <a:latin typeface="+mj-lt"/>
              <a:sym typeface="Raleway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5616" y="858982"/>
            <a:ext cx="9440718" cy="5199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65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Shape 1181"/>
          <p:cNvSpPr/>
          <p:nvPr/>
        </p:nvSpPr>
        <p:spPr>
          <a:xfrm>
            <a:off x="10561625" y="219700"/>
            <a:ext cx="1563600" cy="97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" name="Shape 1182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fld id="{00000000-1234-1234-1234-123412341234}" type="slidenum">
              <a:rPr lang="es-PE" sz="13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5</a:t>
            </a:fld>
            <a:endParaRPr sz="13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" name="Shape 1183"/>
          <p:cNvSpPr txBox="1">
            <a:spLocks noGrp="1"/>
          </p:cNvSpPr>
          <p:nvPr>
            <p:ph type="title" idx="4294967295"/>
          </p:nvPr>
        </p:nvSpPr>
        <p:spPr>
          <a:xfrm>
            <a:off x="221673" y="285471"/>
            <a:ext cx="10398216" cy="712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aleway"/>
              <a:buNone/>
            </a:pPr>
            <a:r>
              <a:rPr lang="es-PE" sz="2400" b="1" dirty="0" smtClean="0">
                <a:latin typeface="+mj-lt"/>
              </a:rPr>
              <a:t>Entonces</a:t>
            </a:r>
            <a:r>
              <a:rPr lang="mr-IN" sz="2400" b="1" dirty="0" smtClean="0">
                <a:latin typeface="+mj-lt"/>
              </a:rPr>
              <a:t>…</a:t>
            </a:r>
            <a:endParaRPr sz="2400" b="1" i="0" u="none" strike="noStrike" cap="none" dirty="0">
              <a:solidFill>
                <a:schemeClr val="dk1"/>
              </a:solidFill>
              <a:latin typeface="+mj-lt"/>
              <a:sym typeface="Raleway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1744" y="3560618"/>
            <a:ext cx="3297382" cy="329738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418" y="3145118"/>
            <a:ext cx="20504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 smtClean="0"/>
              <a:t>¿Este patrón se está manteniendo para 2018?</a:t>
            </a:r>
            <a:endParaRPr lang="es-ES_tradnl" sz="1600" dirty="0"/>
          </a:p>
        </p:txBody>
      </p:sp>
      <p:sp>
        <p:nvSpPr>
          <p:cNvPr id="54" name="TextBox 53"/>
          <p:cNvSpPr txBox="1"/>
          <p:nvPr/>
        </p:nvSpPr>
        <p:spPr>
          <a:xfrm>
            <a:off x="4775198" y="1402878"/>
            <a:ext cx="20504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/>
              <a:t>¿</a:t>
            </a:r>
            <a:r>
              <a:rPr lang="es-ES_tradnl" sz="1600" dirty="0" smtClean="0"/>
              <a:t>Habrá otras variables que terminen de explicar la caída en P$P?</a:t>
            </a:r>
            <a:endParaRPr lang="es-ES_tradnl" sz="1600" dirty="0"/>
          </a:p>
        </p:txBody>
      </p:sp>
      <p:sp>
        <p:nvSpPr>
          <p:cNvPr id="55" name="TextBox 54"/>
          <p:cNvSpPr txBox="1"/>
          <p:nvPr/>
        </p:nvSpPr>
        <p:spPr>
          <a:xfrm>
            <a:off x="8355458" y="3145119"/>
            <a:ext cx="29279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/>
              <a:t>¿</a:t>
            </a:r>
            <a:r>
              <a:rPr lang="es-ES_tradnl" sz="1600" dirty="0" smtClean="0"/>
              <a:t>Es posible predecir las consultoras que caerán para un horizonte más cercano? </a:t>
            </a:r>
            <a:endParaRPr lang="es-ES_tradnl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Shape 1181"/>
          <p:cNvSpPr/>
          <p:nvPr/>
        </p:nvSpPr>
        <p:spPr>
          <a:xfrm>
            <a:off x="10561625" y="219700"/>
            <a:ext cx="1563600" cy="97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" name="Shape 1182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fld id="{00000000-1234-1234-1234-123412341234}" type="slidenum">
              <a:rPr lang="es-PE" sz="13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sz="13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" name="Shape 1183"/>
          <p:cNvSpPr txBox="1">
            <a:spLocks noGrp="1"/>
          </p:cNvSpPr>
          <p:nvPr>
            <p:ph type="title" idx="4294967295"/>
          </p:nvPr>
        </p:nvSpPr>
        <p:spPr>
          <a:xfrm>
            <a:off x="221673" y="271615"/>
            <a:ext cx="10398216" cy="712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aleway"/>
              <a:buNone/>
            </a:pPr>
            <a:r>
              <a:rPr lang="es-ES" sz="2400" b="1" dirty="0" smtClean="0">
                <a:latin typeface="+mj-lt"/>
              </a:rPr>
              <a:t>OBJETIVO</a:t>
            </a:r>
            <a:endParaRPr sz="2400" b="1" i="0" u="none" strike="noStrike" cap="none" dirty="0">
              <a:solidFill>
                <a:schemeClr val="dk1"/>
              </a:solidFill>
              <a:latin typeface="+mj-lt"/>
              <a:sym typeface="Raleway"/>
            </a:endParaRPr>
          </a:p>
        </p:txBody>
      </p:sp>
      <p:sp>
        <p:nvSpPr>
          <p:cNvPr id="9" name="Rectángulo 14"/>
          <p:cNvSpPr/>
          <p:nvPr/>
        </p:nvSpPr>
        <p:spPr>
          <a:xfrm>
            <a:off x="4789762" y="2875319"/>
            <a:ext cx="427873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dirty="0" smtClean="0"/>
              <a:t>Predecir qué consultoras disminuirán en un margen mayor al 10% el monto de su pedido con respecto al monto del pedido de dos campañas atrás. </a:t>
            </a:r>
          </a:p>
          <a:p>
            <a:pPr algn="just"/>
            <a:endParaRPr lang="es-PE" sz="1600" dirty="0"/>
          </a:p>
          <a:p>
            <a:pPr algn="just"/>
            <a:r>
              <a:rPr lang="es-PE" sz="1600" dirty="0" smtClean="0"/>
              <a:t>* Se elige este desfase para tener un margen de acción para tomar medidas sobre estas predicciones.  </a:t>
            </a:r>
            <a:endParaRPr lang="es-PE" sz="1600" dirty="0"/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49" y="3125133"/>
            <a:ext cx="2237134" cy="177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547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" name="Shape 1235"/>
          <p:cNvSpPr txBox="1">
            <a:spLocks noGrp="1"/>
          </p:cNvSpPr>
          <p:nvPr>
            <p:ph type="sldNum" idx="12"/>
          </p:nvPr>
        </p:nvSpPr>
        <p:spPr>
          <a:xfrm>
            <a:off x="11464479" y="545148"/>
            <a:ext cx="7200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z="18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 sz="18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6" name="Shape 1236"/>
          <p:cNvSpPr txBox="1"/>
          <p:nvPr/>
        </p:nvSpPr>
        <p:spPr>
          <a:xfrm>
            <a:off x="203513" y="3884531"/>
            <a:ext cx="8534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</a:pPr>
            <a:r>
              <a:rPr lang="es-PE" sz="4400" b="0" i="0" u="none" strike="noStrike" cap="none" dirty="0" smtClean="0">
                <a:solidFill>
                  <a:schemeClr val="lt1"/>
                </a:solidFill>
                <a:latin typeface="+mj-lt"/>
                <a:ea typeface="Raleway"/>
                <a:cs typeface="Raleway"/>
                <a:sym typeface="Raleway"/>
              </a:rPr>
              <a:t>Variables</a:t>
            </a:r>
            <a:endParaRPr sz="4400" b="0" i="0" u="none" strike="noStrike" cap="none" dirty="0">
              <a:solidFill>
                <a:schemeClr val="lt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Shape 1181"/>
          <p:cNvSpPr/>
          <p:nvPr/>
        </p:nvSpPr>
        <p:spPr>
          <a:xfrm>
            <a:off x="10561625" y="219700"/>
            <a:ext cx="1563600" cy="97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" name="Shape 1182"/>
          <p:cNvSpPr txBox="1">
            <a:spLocks noGrp="1"/>
          </p:cNvSpPr>
          <p:nvPr>
            <p:ph type="sldNum" idx="12"/>
          </p:nvPr>
        </p:nvSpPr>
        <p:spPr>
          <a:xfrm>
            <a:off x="11576267" y="6350198"/>
            <a:ext cx="51032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fld id="{00000000-1234-1234-1234-123412341234}" type="slidenum">
              <a:rPr lang="es-PE" sz="135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8</a:t>
            </a:fld>
            <a:endParaRPr sz="135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" name="Shape 1183"/>
          <p:cNvSpPr txBox="1">
            <a:spLocks noGrp="1"/>
          </p:cNvSpPr>
          <p:nvPr>
            <p:ph type="title" idx="4294967295"/>
          </p:nvPr>
        </p:nvSpPr>
        <p:spPr>
          <a:xfrm>
            <a:off x="221673" y="271615"/>
            <a:ext cx="10398216" cy="712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aleway"/>
              <a:buNone/>
            </a:pPr>
            <a:r>
              <a:rPr lang="es-ES" sz="2400" b="1" dirty="0" smtClean="0">
                <a:latin typeface="+mj-lt"/>
              </a:rPr>
              <a:t>Universo de Consultoras</a:t>
            </a:r>
            <a:endParaRPr sz="2400" b="1" i="0" u="none" strike="noStrike" cap="none" dirty="0">
              <a:solidFill>
                <a:schemeClr val="dk1"/>
              </a:solidFill>
              <a:latin typeface="+mj-lt"/>
              <a:sym typeface="Raleway"/>
            </a:endParaRPr>
          </a:p>
        </p:txBody>
      </p:sp>
      <p:sp>
        <p:nvSpPr>
          <p:cNvPr id="7" name="CuadroTexto 7"/>
          <p:cNvSpPr txBox="1"/>
          <p:nvPr/>
        </p:nvSpPr>
        <p:spPr>
          <a:xfrm>
            <a:off x="732657" y="1035589"/>
            <a:ext cx="107968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sz="1600" dirty="0" smtClean="0"/>
              <a:t>Consultoras que pasaron pedido en la campaña X (actual), X - 1, X</a:t>
            </a:r>
            <a:r>
              <a:rPr lang="mr-IN" sz="1600" dirty="0" smtClean="0"/>
              <a:t>–</a:t>
            </a:r>
            <a:r>
              <a:rPr lang="es-PE" sz="1600" dirty="0" smtClean="0"/>
              <a:t> 2 y X + 2 (estimación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sz="16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PE" sz="1600" dirty="0" smtClean="0"/>
              <a:t>Consultoras que estaban dentro de segmentos de ESTABLECIDAS para el momento de la campaña X</a:t>
            </a:r>
            <a:endParaRPr lang="es-PE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P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657" y="4744764"/>
            <a:ext cx="858982" cy="85898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994325" y="4480304"/>
            <a:ext cx="9535185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_tradnl" dirty="0" smtClean="0"/>
              <a:t>201713 </a:t>
            </a:r>
            <a:r>
              <a:rPr lang="mr-IN" dirty="0" smtClean="0"/>
              <a:t>–</a:t>
            </a:r>
            <a:r>
              <a:rPr lang="es-ES_tradnl" dirty="0" smtClean="0"/>
              <a:t> Campaña  X</a:t>
            </a:r>
          </a:p>
          <a:p>
            <a:pPr>
              <a:lnSpc>
                <a:spcPct val="150000"/>
              </a:lnSpc>
            </a:pPr>
            <a:r>
              <a:rPr lang="es-ES_tradnl" dirty="0" smtClean="0"/>
              <a:t>201712 </a:t>
            </a:r>
            <a:r>
              <a:rPr lang="mr-IN" dirty="0" smtClean="0"/>
              <a:t>–</a:t>
            </a:r>
            <a:r>
              <a:rPr lang="es-ES_tradnl" dirty="0" smtClean="0"/>
              <a:t> Campaña X-1: necesario tener información de la venta para calcular variaciones</a:t>
            </a:r>
          </a:p>
          <a:p>
            <a:pPr>
              <a:lnSpc>
                <a:spcPct val="150000"/>
              </a:lnSpc>
            </a:pPr>
            <a:r>
              <a:rPr lang="es-ES_tradnl" dirty="0" smtClean="0"/>
              <a:t>201711 </a:t>
            </a:r>
            <a:r>
              <a:rPr lang="mr-IN" dirty="0"/>
              <a:t>–</a:t>
            </a:r>
            <a:r>
              <a:rPr lang="es-ES_tradnl" dirty="0"/>
              <a:t> Campaña </a:t>
            </a:r>
            <a:r>
              <a:rPr lang="es-ES_tradnl" dirty="0" smtClean="0"/>
              <a:t>X-2: </a:t>
            </a:r>
            <a:r>
              <a:rPr lang="es-ES_tradnl" dirty="0"/>
              <a:t>necesario tener información de la venta para calcular </a:t>
            </a:r>
            <a:r>
              <a:rPr lang="es-ES_tradnl" dirty="0" smtClean="0"/>
              <a:t>variaciones</a:t>
            </a:r>
          </a:p>
          <a:p>
            <a:pPr>
              <a:lnSpc>
                <a:spcPct val="150000"/>
              </a:lnSpc>
            </a:pPr>
            <a:r>
              <a:rPr lang="es-ES_tradnl" dirty="0" smtClean="0"/>
              <a:t>201715 </a:t>
            </a:r>
            <a:r>
              <a:rPr lang="mr-IN" dirty="0" smtClean="0"/>
              <a:t>–</a:t>
            </a:r>
            <a:r>
              <a:rPr lang="es-ES_tradnl" dirty="0" smtClean="0"/>
              <a:t> Campaña X + 2: Campaña para la cual se estimará evolución de la venta </a:t>
            </a:r>
            <a:endParaRPr lang="es-ES_tradnl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1994326" y="3569716"/>
            <a:ext cx="728786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9131271" y="3494255"/>
            <a:ext cx="150921" cy="150921"/>
          </a:xfrm>
          <a:prstGeom prst="ellipse">
            <a:avLst/>
          </a:prstGeom>
          <a:solidFill>
            <a:schemeClr val="accent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3" name="Oval 22"/>
          <p:cNvSpPr/>
          <p:nvPr/>
        </p:nvSpPr>
        <p:spPr>
          <a:xfrm>
            <a:off x="7523178" y="3494255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4" name="Oval 23"/>
          <p:cNvSpPr/>
          <p:nvPr/>
        </p:nvSpPr>
        <p:spPr>
          <a:xfrm>
            <a:off x="6413961" y="3494255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5" name="Oval 24"/>
          <p:cNvSpPr/>
          <p:nvPr/>
        </p:nvSpPr>
        <p:spPr>
          <a:xfrm>
            <a:off x="5304745" y="3494254"/>
            <a:ext cx="150921" cy="150921"/>
          </a:xfrm>
          <a:prstGeom prst="ellipse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6" name="TextBox 25"/>
          <p:cNvSpPr txBox="1"/>
          <p:nvPr/>
        </p:nvSpPr>
        <p:spPr>
          <a:xfrm>
            <a:off x="7413492" y="3645175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800" b="1" dirty="0" smtClean="0">
                <a:solidFill>
                  <a:srgbClr val="FF0000"/>
                </a:solidFill>
                <a:latin typeface="Apple Chancery" charset="0"/>
                <a:ea typeface="Apple Chancery" charset="0"/>
                <a:cs typeface="Apple Chancery" charset="0"/>
              </a:rPr>
              <a:t>x</a:t>
            </a:r>
            <a:endParaRPr lang="es-ES_tradnl" sz="1800" b="1" dirty="0">
              <a:solidFill>
                <a:srgbClr val="FF0000"/>
              </a:solidFill>
              <a:latin typeface="Apple Chancery" charset="0"/>
              <a:ea typeface="Apple Chancery" charset="0"/>
              <a:cs typeface="Apple Chancery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232605" y="3693408"/>
            <a:ext cx="529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 smtClean="0">
                <a:latin typeface="Apple Chancery" charset="0"/>
                <a:ea typeface="Apple Chancery" charset="0"/>
                <a:cs typeface="Apple Chancery" charset="0"/>
              </a:rPr>
              <a:t>X-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15549" y="3693408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 smtClean="0">
                <a:latin typeface="Apple Chancery" charset="0"/>
                <a:ea typeface="Apple Chancery" charset="0"/>
                <a:cs typeface="Apple Chancery" charset="0"/>
              </a:rPr>
              <a:t>X-2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927648" y="3673995"/>
            <a:ext cx="603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b="1" dirty="0" smtClean="0">
                <a:latin typeface="Apple Chancery" charset="0"/>
                <a:ea typeface="Apple Chancery" charset="0"/>
                <a:cs typeface="Apple Chancery" charset="0"/>
              </a:rPr>
              <a:t>X+2</a:t>
            </a:r>
          </a:p>
        </p:txBody>
      </p:sp>
    </p:spTree>
    <p:extLst>
      <p:ext uri="{BB962C8B-B14F-4D97-AF65-F5344CB8AC3E}">
        <p14:creationId xmlns:p14="http://schemas.microsoft.com/office/powerpoint/2010/main" val="195850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dUsapSzkG87tkrcmgmLQ"/>
</p:tagLst>
</file>

<file path=ppt/theme/theme1.xml><?xml version="1.0" encoding="utf-8"?>
<a:theme xmlns:a="http://schemas.openxmlformats.org/drawingml/2006/main" name="Office Theme">
  <a:themeElements>
    <a:clrScheme name="Komplete Purple">
      <a:dk1>
        <a:srgbClr val="000000"/>
      </a:dk1>
      <a:lt1>
        <a:srgbClr val="FFFFFF"/>
      </a:lt1>
      <a:dk2>
        <a:srgbClr val="3A3838"/>
      </a:dk2>
      <a:lt2>
        <a:srgbClr val="A5A5A5"/>
      </a:lt2>
      <a:accent1>
        <a:srgbClr val="5F3477"/>
      </a:accent1>
      <a:accent2>
        <a:srgbClr val="7B67AD"/>
      </a:accent2>
      <a:accent3>
        <a:srgbClr val="B196C6"/>
      </a:accent3>
      <a:accent4>
        <a:srgbClr val="472759"/>
      </a:accent4>
      <a:accent5>
        <a:srgbClr val="5A4886"/>
      </a:accent5>
      <a:accent6>
        <a:srgbClr val="875DA7"/>
      </a:accent6>
      <a:hlink>
        <a:srgbClr val="A05024"/>
      </a:hlink>
      <a:folHlink>
        <a:srgbClr val="FEC03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Komplete Purple">
      <a:dk1>
        <a:srgbClr val="000000"/>
      </a:dk1>
      <a:lt1>
        <a:srgbClr val="FFFFFF"/>
      </a:lt1>
      <a:dk2>
        <a:srgbClr val="3A3838"/>
      </a:dk2>
      <a:lt2>
        <a:srgbClr val="A5A5A5"/>
      </a:lt2>
      <a:accent1>
        <a:srgbClr val="5F3477"/>
      </a:accent1>
      <a:accent2>
        <a:srgbClr val="7B67AD"/>
      </a:accent2>
      <a:accent3>
        <a:srgbClr val="B196C6"/>
      </a:accent3>
      <a:accent4>
        <a:srgbClr val="472759"/>
      </a:accent4>
      <a:accent5>
        <a:srgbClr val="5A4886"/>
      </a:accent5>
      <a:accent6>
        <a:srgbClr val="875DA7"/>
      </a:accent6>
      <a:hlink>
        <a:srgbClr val="A05024"/>
      </a:hlink>
      <a:folHlink>
        <a:srgbClr val="FEC03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lantilla Hub v0">
  <a:themeElements>
    <a:clrScheme name="Personalizado 17">
      <a:dk1>
        <a:srgbClr val="000000"/>
      </a:dk1>
      <a:lt1>
        <a:srgbClr val="FFFFFF"/>
      </a:lt1>
      <a:dk2>
        <a:srgbClr val="7988A5"/>
      </a:dk2>
      <a:lt2>
        <a:srgbClr val="C3D2E3"/>
      </a:lt2>
      <a:accent1>
        <a:srgbClr val="5D61C0"/>
      </a:accent1>
      <a:accent2>
        <a:srgbClr val="572E94"/>
      </a:accent2>
      <a:accent3>
        <a:srgbClr val="D72341"/>
      </a:accent3>
      <a:accent4>
        <a:srgbClr val="A9C060"/>
      </a:accent4>
      <a:accent5>
        <a:srgbClr val="589CDA"/>
      </a:accent5>
      <a:accent6>
        <a:srgbClr val="F5CF71"/>
      </a:accent6>
      <a:hlink>
        <a:srgbClr val="43446B"/>
      </a:hlink>
      <a:folHlink>
        <a:srgbClr val="1F135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772</Words>
  <Application>Microsoft Office PowerPoint</Application>
  <PresentationFormat>Panorámica</PresentationFormat>
  <Paragraphs>156</Paragraphs>
  <Slides>18</Slides>
  <Notes>13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9" baseType="lpstr">
      <vt:lpstr>Apple Chancery</vt:lpstr>
      <vt:lpstr>Arial</vt:lpstr>
      <vt:lpstr>Calibri</vt:lpstr>
      <vt:lpstr>Cambria Math</vt:lpstr>
      <vt:lpstr>Mangal</vt:lpstr>
      <vt:lpstr>Noto Sans Symbols</vt:lpstr>
      <vt:lpstr>Raleway</vt:lpstr>
      <vt:lpstr>Office Theme</vt:lpstr>
      <vt:lpstr>1_Office Theme</vt:lpstr>
      <vt:lpstr>Plantilla Hub v0</vt:lpstr>
      <vt:lpstr>Diapositiva de think-cell</vt:lpstr>
      <vt:lpstr>Presentación de PowerPoint</vt:lpstr>
      <vt:lpstr>Presentación de PowerPoint</vt:lpstr>
      <vt:lpstr>Presentación de PowerPoint</vt:lpstr>
      <vt:lpstr>El PMNP está cayendo en todos los países vs año pasado</vt:lpstr>
      <vt:lpstr>El análisis 2016 vs 2017 demostró que gran parte de la caída se explicaba por las decil 1</vt:lpstr>
      <vt:lpstr>Entonces…</vt:lpstr>
      <vt:lpstr>OBJETIVO</vt:lpstr>
      <vt:lpstr>Presentación de PowerPoint</vt:lpstr>
      <vt:lpstr>Universo de Consultoras</vt:lpstr>
      <vt:lpstr>Variables Independientes</vt:lpstr>
      <vt:lpstr>Variable Objetivo</vt:lpstr>
      <vt:lpstr>Presentación de PowerPoint</vt:lpstr>
      <vt:lpstr>Flujo de Datos</vt:lpstr>
      <vt:lpstr>Presentación de PowerPoint</vt:lpstr>
      <vt:lpstr>Notebook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os Fabbri  Garcia</dc:creator>
  <cp:lastModifiedBy>Nadia Nathaly Acostupa Ellisca</cp:lastModifiedBy>
  <cp:revision>14</cp:revision>
  <dcterms:modified xsi:type="dcterms:W3CDTF">2018-04-20T18:17:53Z</dcterms:modified>
</cp:coreProperties>
</file>